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2"/>
  </p:notesMasterIdLst>
  <p:sldIdLst>
    <p:sldId id="256" r:id="rId2"/>
    <p:sldId id="3142" r:id="rId3"/>
    <p:sldId id="3144" r:id="rId4"/>
    <p:sldId id="3145" r:id="rId5"/>
    <p:sldId id="3146" r:id="rId6"/>
    <p:sldId id="3149" r:id="rId7"/>
    <p:sldId id="3147" r:id="rId8"/>
    <p:sldId id="3148" r:id="rId9"/>
    <p:sldId id="3150" r:id="rId10"/>
    <p:sldId id="321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1C64"/>
    <a:srgbClr val="007FB7"/>
    <a:srgbClr val="3C3C3B"/>
    <a:srgbClr val="04BCD5"/>
    <a:srgbClr val="8892D3"/>
    <a:srgbClr val="009FE7"/>
    <a:srgbClr val="E4E4E3"/>
    <a:srgbClr val="451F6E"/>
    <a:srgbClr val="713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95" autoAdjust="0"/>
    <p:restoredTop sz="94586"/>
  </p:normalViewPr>
  <p:slideViewPr>
    <p:cSldViewPr snapToGrid="0" snapToObjects="1">
      <p:cViewPr varScale="1">
        <p:scale>
          <a:sx n="155" d="100"/>
          <a:sy n="155" d="100"/>
        </p:scale>
        <p:origin x="40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卫 岩" userId="6b4f6ed025dfef75" providerId="LiveId" clId="{53FCA9A4-4E24-41C3-8030-14A98E7F0782}"/>
    <pc:docChg chg="undo custSel addSld delSld modSld">
      <pc:chgData name="卫 岩" userId="6b4f6ed025dfef75" providerId="LiveId" clId="{53FCA9A4-4E24-41C3-8030-14A98E7F0782}" dt="2020-02-13T08:02:33.496" v="5249" actId="12789"/>
      <pc:docMkLst>
        <pc:docMk/>
      </pc:docMkLst>
      <pc:sldChg chg="modSp">
        <pc:chgData name="卫 岩" userId="6b4f6ed025dfef75" providerId="LiveId" clId="{53FCA9A4-4E24-41C3-8030-14A98E7F0782}" dt="2020-02-13T04:03:04.575" v="814"/>
        <pc:sldMkLst>
          <pc:docMk/>
          <pc:sldMk cId="0" sldId="256"/>
        </pc:sldMkLst>
        <pc:spChg chg="mod">
          <ac:chgData name="卫 岩" userId="6b4f6ed025dfef75" providerId="LiveId" clId="{53FCA9A4-4E24-41C3-8030-14A98E7F0782}" dt="2020-02-13T04:03:04.575" v="814"/>
          <ac:spMkLst>
            <pc:docMk/>
            <pc:sldMk cId="0" sldId="256"/>
            <ac:spMk id="9" creationId="{00000000-0000-0000-0000-000000000000}"/>
          </ac:spMkLst>
        </pc:spChg>
        <pc:spChg chg="mod">
          <ac:chgData name="卫 岩" userId="6b4f6ed025dfef75" providerId="LiveId" clId="{53FCA9A4-4E24-41C3-8030-14A98E7F0782}" dt="2020-02-13T03:11:51.719" v="58" actId="1076"/>
          <ac:spMkLst>
            <pc:docMk/>
            <pc:sldMk cId="0" sldId="256"/>
            <ac:spMk id="10" creationId="{00000000-0000-0000-0000-000000000000}"/>
          </ac:spMkLst>
        </pc:spChg>
      </pc:sldChg>
      <pc:sldChg chg="modSp del">
        <pc:chgData name="卫 岩" userId="6b4f6ed025dfef75" providerId="LiveId" clId="{53FCA9A4-4E24-41C3-8030-14A98E7F0782}" dt="2020-02-13T05:56:57.441" v="3683" actId="47"/>
        <pc:sldMkLst>
          <pc:docMk/>
          <pc:sldMk cId="0" sldId="258"/>
        </pc:sldMkLst>
        <pc:graphicFrameChg chg="mod">
          <ac:chgData name="卫 岩" userId="6b4f6ed025dfef75" providerId="LiveId" clId="{53FCA9A4-4E24-41C3-8030-14A98E7F0782}" dt="2020-02-13T04:03:04.575" v="814"/>
          <ac:graphicFrameMkLst>
            <pc:docMk/>
            <pc:sldMk cId="0" sldId="258"/>
            <ac:graphicFrameMk id="2" creationId="{00000000-0000-0000-0000-000000000000}"/>
          </ac:graphicFrameMkLst>
        </pc:graphicFrameChg>
      </pc:sldChg>
      <pc:sldChg chg="del">
        <pc:chgData name="卫 岩" userId="6b4f6ed025dfef75" providerId="LiveId" clId="{53FCA9A4-4E24-41C3-8030-14A98E7F0782}" dt="2020-02-13T05:57:01.995" v="3693" actId="47"/>
        <pc:sldMkLst>
          <pc:docMk/>
          <pc:sldMk cId="0" sldId="338"/>
        </pc:sldMkLst>
      </pc:sldChg>
      <pc:sldChg chg="modSp del">
        <pc:chgData name="卫 岩" userId="6b4f6ed025dfef75" providerId="LiveId" clId="{53FCA9A4-4E24-41C3-8030-14A98E7F0782}" dt="2020-02-13T05:57:01.781" v="3692" actId="47"/>
        <pc:sldMkLst>
          <pc:docMk/>
          <pc:sldMk cId="0" sldId="3010"/>
        </pc:sldMkLst>
        <pc:graphicFrameChg chg="mod">
          <ac:chgData name="卫 岩" userId="6b4f6ed025dfef75" providerId="LiveId" clId="{53FCA9A4-4E24-41C3-8030-14A98E7F0782}" dt="2020-02-13T04:03:04.575" v="814"/>
          <ac:graphicFrameMkLst>
            <pc:docMk/>
            <pc:sldMk cId="0" sldId="3010"/>
            <ac:graphicFrameMk id="5" creationId="{00000000-0000-0000-0000-000000000000}"/>
          </ac:graphicFrameMkLst>
        </pc:graphicFrameChg>
      </pc:sldChg>
      <pc:sldChg chg="del">
        <pc:chgData name="卫 岩" userId="6b4f6ed025dfef75" providerId="LiveId" clId="{53FCA9A4-4E24-41C3-8030-14A98E7F0782}" dt="2020-02-13T05:56:58.880" v="3685" actId="47"/>
        <pc:sldMkLst>
          <pc:docMk/>
          <pc:sldMk cId="0" sldId="3109"/>
        </pc:sldMkLst>
      </pc:sldChg>
      <pc:sldChg chg="modSp del">
        <pc:chgData name="卫 岩" userId="6b4f6ed025dfef75" providerId="LiveId" clId="{53FCA9A4-4E24-41C3-8030-14A98E7F0782}" dt="2020-02-13T05:56:57.903" v="3684" actId="47"/>
        <pc:sldMkLst>
          <pc:docMk/>
          <pc:sldMk cId="0" sldId="3110"/>
        </pc:sldMkLst>
        <pc:graphicFrameChg chg="mod">
          <ac:chgData name="卫 岩" userId="6b4f6ed025dfef75" providerId="LiveId" clId="{53FCA9A4-4E24-41C3-8030-14A98E7F0782}" dt="2020-02-13T04:03:04.575" v="814"/>
          <ac:graphicFrameMkLst>
            <pc:docMk/>
            <pc:sldMk cId="0" sldId="3110"/>
            <ac:graphicFrameMk id="3" creationId="{00000000-0000-0000-0000-000000000000}"/>
          </ac:graphicFrameMkLst>
        </pc:graphicFrameChg>
      </pc:sldChg>
      <pc:sldChg chg="modSp del">
        <pc:chgData name="卫 岩" userId="6b4f6ed025dfef75" providerId="LiveId" clId="{53FCA9A4-4E24-41C3-8030-14A98E7F0782}" dt="2020-02-13T05:56:59.505" v="3687" actId="47"/>
        <pc:sldMkLst>
          <pc:docMk/>
          <pc:sldMk cId="0" sldId="3111"/>
        </pc:sldMkLst>
        <pc:spChg chg="mod">
          <ac:chgData name="卫 岩" userId="6b4f6ed025dfef75" providerId="LiveId" clId="{53FCA9A4-4E24-41C3-8030-14A98E7F0782}" dt="2020-02-13T04:03:04.575" v="814"/>
          <ac:spMkLst>
            <pc:docMk/>
            <pc:sldMk cId="0" sldId="3111"/>
            <ac:spMk id="4" creationId="{00000000-0000-0000-0000-000000000000}"/>
          </ac:spMkLst>
        </pc:spChg>
      </pc:sldChg>
      <pc:sldChg chg="modSp del">
        <pc:chgData name="卫 岩" userId="6b4f6ed025dfef75" providerId="LiveId" clId="{53FCA9A4-4E24-41C3-8030-14A98E7F0782}" dt="2020-02-13T05:57:02.588" v="3694" actId="47"/>
        <pc:sldMkLst>
          <pc:docMk/>
          <pc:sldMk cId="0" sldId="3113"/>
        </pc:sldMkLst>
        <pc:graphicFrameChg chg="mod">
          <ac:chgData name="卫 岩" userId="6b4f6ed025dfef75" providerId="LiveId" clId="{53FCA9A4-4E24-41C3-8030-14A98E7F0782}" dt="2020-02-13T04:03:04.575" v="814"/>
          <ac:graphicFrameMkLst>
            <pc:docMk/>
            <pc:sldMk cId="0" sldId="3113"/>
            <ac:graphicFrameMk id="3" creationId="{00000000-0000-0000-0000-000000000000}"/>
          </ac:graphicFrameMkLst>
        </pc:graphicFrameChg>
      </pc:sldChg>
      <pc:sldChg chg="modSp del">
        <pc:chgData name="卫 岩" userId="6b4f6ed025dfef75" providerId="LiveId" clId="{53FCA9A4-4E24-41C3-8030-14A98E7F0782}" dt="2020-02-13T05:57:01.069" v="3691" actId="47"/>
        <pc:sldMkLst>
          <pc:docMk/>
          <pc:sldMk cId="0" sldId="3115"/>
        </pc:sldMkLst>
        <pc:graphicFrameChg chg="mod">
          <ac:chgData name="卫 岩" userId="6b4f6ed025dfef75" providerId="LiveId" clId="{53FCA9A4-4E24-41C3-8030-14A98E7F0782}" dt="2020-02-13T04:03:04.575" v="814"/>
          <ac:graphicFrameMkLst>
            <pc:docMk/>
            <pc:sldMk cId="0" sldId="3115"/>
            <ac:graphicFrameMk id="5" creationId="{00000000-0000-0000-0000-000000000000}"/>
          </ac:graphicFrameMkLst>
        </pc:graphicFrameChg>
      </pc:sldChg>
      <pc:sldChg chg="modSp del">
        <pc:chgData name="卫 岩" userId="6b4f6ed025dfef75" providerId="LiveId" clId="{53FCA9A4-4E24-41C3-8030-14A98E7F0782}" dt="2020-02-13T05:56:56.725" v="3682" actId="47"/>
        <pc:sldMkLst>
          <pc:docMk/>
          <pc:sldMk cId="0" sldId="3116"/>
        </pc:sldMkLst>
        <pc:spChg chg="mod">
          <ac:chgData name="卫 岩" userId="6b4f6ed025dfef75" providerId="LiveId" clId="{53FCA9A4-4E24-41C3-8030-14A98E7F0782}" dt="2020-02-13T04:02:54.908" v="813"/>
          <ac:spMkLst>
            <pc:docMk/>
            <pc:sldMk cId="0" sldId="3116"/>
            <ac:spMk id="10" creationId="{00000000-0000-0000-0000-000000000000}"/>
          </ac:spMkLst>
        </pc:spChg>
        <pc:spChg chg="mod">
          <ac:chgData name="卫 岩" userId="6b4f6ed025dfef75" providerId="LiveId" clId="{53FCA9A4-4E24-41C3-8030-14A98E7F0782}" dt="2020-02-13T04:03:04.575" v="814"/>
          <ac:spMkLst>
            <pc:docMk/>
            <pc:sldMk cId="0" sldId="3116"/>
            <ac:spMk id="11" creationId="{00000000-0000-0000-0000-000000000000}"/>
          </ac:spMkLst>
        </pc:spChg>
        <pc:spChg chg="mod">
          <ac:chgData name="卫 岩" userId="6b4f6ed025dfef75" providerId="LiveId" clId="{53FCA9A4-4E24-41C3-8030-14A98E7F0782}" dt="2020-02-13T04:02:42.523" v="812"/>
          <ac:spMkLst>
            <pc:docMk/>
            <pc:sldMk cId="0" sldId="3116"/>
            <ac:spMk id="12" creationId="{00000000-0000-0000-0000-000000000000}"/>
          </ac:spMkLst>
        </pc:spChg>
        <pc:spChg chg="mod">
          <ac:chgData name="卫 岩" userId="6b4f6ed025dfef75" providerId="LiveId" clId="{53FCA9A4-4E24-41C3-8030-14A98E7F0782}" dt="2020-02-13T04:02:42.523" v="812"/>
          <ac:spMkLst>
            <pc:docMk/>
            <pc:sldMk cId="0" sldId="3116"/>
            <ac:spMk id="17" creationId="{00000000-0000-0000-0000-000000000000}"/>
          </ac:spMkLst>
        </pc:spChg>
        <pc:spChg chg="mod">
          <ac:chgData name="卫 岩" userId="6b4f6ed025dfef75" providerId="LiveId" clId="{53FCA9A4-4E24-41C3-8030-14A98E7F0782}" dt="2020-02-13T04:02:42.523" v="812"/>
          <ac:spMkLst>
            <pc:docMk/>
            <pc:sldMk cId="0" sldId="3116"/>
            <ac:spMk id="23" creationId="{00000000-0000-0000-0000-000000000000}"/>
          </ac:spMkLst>
        </pc:spChg>
        <pc:spChg chg="mod">
          <ac:chgData name="卫 岩" userId="6b4f6ed025dfef75" providerId="LiveId" clId="{53FCA9A4-4E24-41C3-8030-14A98E7F0782}" dt="2020-02-13T04:02:42.523" v="812"/>
          <ac:spMkLst>
            <pc:docMk/>
            <pc:sldMk cId="0" sldId="3116"/>
            <ac:spMk id="25" creationId="{00000000-0000-0000-0000-000000000000}"/>
          </ac:spMkLst>
        </pc:spChg>
      </pc:sldChg>
      <pc:sldChg chg="modSp del">
        <pc:chgData name="卫 岩" userId="6b4f6ed025dfef75" providerId="LiveId" clId="{53FCA9A4-4E24-41C3-8030-14A98E7F0782}" dt="2020-02-13T05:57:00.855" v="3690" actId="47"/>
        <pc:sldMkLst>
          <pc:docMk/>
          <pc:sldMk cId="0" sldId="3117"/>
        </pc:sldMkLst>
        <pc:spChg chg="mod">
          <ac:chgData name="卫 岩" userId="6b4f6ed025dfef75" providerId="LiveId" clId="{53FCA9A4-4E24-41C3-8030-14A98E7F0782}" dt="2020-02-13T04:02:54.908" v="813"/>
          <ac:spMkLst>
            <pc:docMk/>
            <pc:sldMk cId="0" sldId="3117"/>
            <ac:spMk id="4" creationId="{00000000-0000-0000-0000-000000000000}"/>
          </ac:spMkLst>
        </pc:spChg>
      </pc:sldChg>
      <pc:sldChg chg="del">
        <pc:chgData name="卫 岩" userId="6b4f6ed025dfef75" providerId="LiveId" clId="{53FCA9A4-4E24-41C3-8030-14A98E7F0782}" dt="2020-02-13T05:57:00.616" v="3689" actId="47"/>
        <pc:sldMkLst>
          <pc:docMk/>
          <pc:sldMk cId="0" sldId="3118"/>
        </pc:sldMkLst>
      </pc:sldChg>
      <pc:sldChg chg="del">
        <pc:chgData name="卫 岩" userId="6b4f6ed025dfef75" providerId="LiveId" clId="{53FCA9A4-4E24-41C3-8030-14A98E7F0782}" dt="2020-02-13T05:56:59.270" v="3686" actId="47"/>
        <pc:sldMkLst>
          <pc:docMk/>
          <pc:sldMk cId="0" sldId="3119"/>
        </pc:sldMkLst>
      </pc:sldChg>
      <pc:sldChg chg="modSp del">
        <pc:chgData name="卫 岩" userId="6b4f6ed025dfef75" providerId="LiveId" clId="{53FCA9A4-4E24-41C3-8030-14A98E7F0782}" dt="2020-02-13T05:56:59.979" v="3688" actId="47"/>
        <pc:sldMkLst>
          <pc:docMk/>
          <pc:sldMk cId="0" sldId="3129"/>
        </pc:sldMkLst>
        <pc:spChg chg="mod">
          <ac:chgData name="卫 岩" userId="6b4f6ed025dfef75" providerId="LiveId" clId="{53FCA9A4-4E24-41C3-8030-14A98E7F0782}" dt="2020-02-13T04:03:04.575" v="814"/>
          <ac:spMkLst>
            <pc:docMk/>
            <pc:sldMk cId="0" sldId="3129"/>
            <ac:spMk id="2" creationId="{00000000-0000-0000-0000-000000000000}"/>
          </ac:spMkLst>
        </pc:spChg>
      </pc:sldChg>
      <pc:sldChg chg="addSp delSp modSp add">
        <pc:chgData name="卫 岩" userId="6b4f6ed025dfef75" providerId="LiveId" clId="{53FCA9A4-4E24-41C3-8030-14A98E7F0782}" dt="2020-02-13T08:00:53.701" v="5221" actId="1076"/>
        <pc:sldMkLst>
          <pc:docMk/>
          <pc:sldMk cId="2282036497" sldId="3130"/>
        </pc:sldMkLst>
        <pc:spChg chg="mod">
          <ac:chgData name="卫 岩" userId="6b4f6ed025dfef75" providerId="LiveId" clId="{53FCA9A4-4E24-41C3-8030-14A98E7F0782}" dt="2020-02-13T03:33:30.150" v="774"/>
          <ac:spMkLst>
            <pc:docMk/>
            <pc:sldMk cId="2282036497" sldId="3130"/>
            <ac:spMk id="5" creationId="{00000000-0000-0000-0000-000000000000}"/>
          </ac:spMkLst>
        </pc:spChg>
        <pc:grpChg chg="mod">
          <ac:chgData name="卫 岩" userId="6b4f6ed025dfef75" providerId="LiveId" clId="{53FCA9A4-4E24-41C3-8030-14A98E7F0782}" dt="2020-02-13T03:15:48.123" v="104" actId="18245"/>
          <ac:grpSpMkLst>
            <pc:docMk/>
            <pc:sldMk cId="2282036497" sldId="3130"/>
            <ac:grpSpMk id="4" creationId="{2862F39E-9B58-4899-97F7-8D738763BD76}"/>
          </ac:grpSpMkLst>
        </pc:grpChg>
        <pc:graphicFrameChg chg="del">
          <ac:chgData name="卫 岩" userId="6b4f6ed025dfef75" providerId="LiveId" clId="{53FCA9A4-4E24-41C3-8030-14A98E7F0782}" dt="2020-02-13T03:12:40.420" v="72" actId="478"/>
          <ac:graphicFrameMkLst>
            <pc:docMk/>
            <pc:sldMk cId="2282036497" sldId="3130"/>
            <ac:graphicFrameMk id="2" creationId="{00000000-0000-0000-0000-000000000000}"/>
          </ac:graphicFrameMkLst>
        </pc:graphicFrameChg>
        <pc:graphicFrameChg chg="add del mod">
          <ac:chgData name="卫 岩" userId="6b4f6ed025dfef75" providerId="LiveId" clId="{53FCA9A4-4E24-41C3-8030-14A98E7F0782}" dt="2020-02-13T08:00:53.701" v="5221" actId="1076"/>
          <ac:graphicFrameMkLst>
            <pc:docMk/>
            <pc:sldMk cId="2282036497" sldId="3130"/>
            <ac:graphicFrameMk id="3" creationId="{E26FF644-79EB-4C2B-830D-6F6649CA6D2A}"/>
          </ac:graphicFrameMkLst>
        </pc:graphicFrameChg>
        <pc:graphicFrameChg chg="del">
          <ac:chgData name="卫 岩" userId="6b4f6ed025dfef75" providerId="LiveId" clId="{53FCA9A4-4E24-41C3-8030-14A98E7F0782}" dt="2020-02-13T03:12:41.429" v="73" actId="478"/>
          <ac:graphicFrameMkLst>
            <pc:docMk/>
            <pc:sldMk cId="2282036497" sldId="3130"/>
            <ac:graphicFrameMk id="6" creationId="{B0F57359-A3FB-4BB9-BD99-FD8C288D6035}"/>
          </ac:graphicFrameMkLst>
        </pc:graphicFrameChg>
      </pc:sldChg>
      <pc:sldChg chg="addSp delSp modSp add">
        <pc:chgData name="卫 岩" userId="6b4f6ed025dfef75" providerId="LiveId" clId="{53FCA9A4-4E24-41C3-8030-14A98E7F0782}" dt="2020-02-13T08:02:33.496" v="5249" actId="12789"/>
        <pc:sldMkLst>
          <pc:docMk/>
          <pc:sldMk cId="2392828753" sldId="3131"/>
        </pc:sldMkLst>
        <pc:spChg chg="add del mod">
          <ac:chgData name="卫 岩" userId="6b4f6ed025dfef75" providerId="LiveId" clId="{53FCA9A4-4E24-41C3-8030-14A98E7F0782}" dt="2020-02-13T04:19:23.783" v="1000" actId="478"/>
          <ac:spMkLst>
            <pc:docMk/>
            <pc:sldMk cId="2392828753" sldId="3131"/>
            <ac:spMk id="4" creationId="{8DD6A6FC-88F7-473F-AE95-8A1F1A2D3F24}"/>
          </ac:spMkLst>
        </pc:spChg>
        <pc:spChg chg="mod">
          <ac:chgData name="卫 岩" userId="6b4f6ed025dfef75" providerId="LiveId" clId="{53FCA9A4-4E24-41C3-8030-14A98E7F0782}" dt="2020-02-13T04:05:39.708" v="867" actId="20577"/>
          <ac:spMkLst>
            <pc:docMk/>
            <pc:sldMk cId="2392828753" sldId="3131"/>
            <ac:spMk id="5" creationId="{00000000-0000-0000-0000-000000000000}"/>
          </ac:spMkLst>
        </pc:spChg>
        <pc:spChg chg="add mod">
          <ac:chgData name="卫 岩" userId="6b4f6ed025dfef75" providerId="LiveId" clId="{53FCA9A4-4E24-41C3-8030-14A98E7F0782}" dt="2020-02-13T04:24:19.699" v="1147"/>
          <ac:spMkLst>
            <pc:docMk/>
            <pc:sldMk cId="2392828753" sldId="3131"/>
            <ac:spMk id="6" creationId="{C302EB41-7201-4737-875A-16FAC28C290E}"/>
          </ac:spMkLst>
        </pc:spChg>
        <pc:graphicFrameChg chg="add mod modGraphic">
          <ac:chgData name="卫 岩" userId="6b4f6ed025dfef75" providerId="LiveId" clId="{53FCA9A4-4E24-41C3-8030-14A98E7F0782}" dt="2020-02-13T08:02:12.364" v="5243" actId="6549"/>
          <ac:graphicFrameMkLst>
            <pc:docMk/>
            <pc:sldMk cId="2392828753" sldId="3131"/>
            <ac:graphicFrameMk id="2" creationId="{1485CC70-5333-4CB5-A3F6-A9440857C639}"/>
          </ac:graphicFrameMkLst>
        </pc:graphicFrameChg>
        <pc:graphicFrameChg chg="del">
          <ac:chgData name="卫 岩" userId="6b4f6ed025dfef75" providerId="LiveId" clId="{53FCA9A4-4E24-41C3-8030-14A98E7F0782}" dt="2020-02-13T03:26:03.312" v="762" actId="478"/>
          <ac:graphicFrameMkLst>
            <pc:docMk/>
            <pc:sldMk cId="2392828753" sldId="3131"/>
            <ac:graphicFrameMk id="3" creationId="{E26FF644-79EB-4C2B-830D-6F6649CA6D2A}"/>
          </ac:graphicFrameMkLst>
        </pc:graphicFrameChg>
        <pc:picChg chg="add mod">
          <ac:chgData name="卫 岩" userId="6b4f6ed025dfef75" providerId="LiveId" clId="{53FCA9A4-4E24-41C3-8030-14A98E7F0782}" dt="2020-02-13T08:02:33.496" v="5249" actId="12789"/>
          <ac:picMkLst>
            <pc:docMk/>
            <pc:sldMk cId="2392828753" sldId="3131"/>
            <ac:picMk id="7" creationId="{09A45A2A-84F1-4FC5-9AFC-29409448D324}"/>
          </ac:picMkLst>
        </pc:picChg>
        <pc:picChg chg="add mod">
          <ac:chgData name="卫 岩" userId="6b4f6ed025dfef75" providerId="LiveId" clId="{53FCA9A4-4E24-41C3-8030-14A98E7F0782}" dt="2020-02-13T08:02:33.496" v="5249" actId="12789"/>
          <ac:picMkLst>
            <pc:docMk/>
            <pc:sldMk cId="2392828753" sldId="3131"/>
            <ac:picMk id="8" creationId="{2A6D8BB8-83B5-4D33-9B3E-48EF28B7197E}"/>
          </ac:picMkLst>
        </pc:picChg>
        <pc:picChg chg="add mod">
          <ac:chgData name="卫 岩" userId="6b4f6ed025dfef75" providerId="LiveId" clId="{53FCA9A4-4E24-41C3-8030-14A98E7F0782}" dt="2020-02-13T08:02:33.496" v="5249" actId="12789"/>
          <ac:picMkLst>
            <pc:docMk/>
            <pc:sldMk cId="2392828753" sldId="3131"/>
            <ac:picMk id="9" creationId="{798B311F-1747-44CA-BA82-93C081E6294E}"/>
          </ac:picMkLst>
        </pc:picChg>
        <pc:picChg chg="add mod">
          <ac:chgData name="卫 岩" userId="6b4f6ed025dfef75" providerId="LiveId" clId="{53FCA9A4-4E24-41C3-8030-14A98E7F0782}" dt="2020-02-13T08:02:33.496" v="5249" actId="12789"/>
          <ac:picMkLst>
            <pc:docMk/>
            <pc:sldMk cId="2392828753" sldId="3131"/>
            <ac:picMk id="10" creationId="{725A9FA1-9E01-4556-A15F-61504EEA8F8F}"/>
          </ac:picMkLst>
        </pc:picChg>
        <pc:picChg chg="add mod">
          <ac:chgData name="卫 岩" userId="6b4f6ed025dfef75" providerId="LiveId" clId="{53FCA9A4-4E24-41C3-8030-14A98E7F0782}" dt="2020-02-13T08:02:33.496" v="5249" actId="12789"/>
          <ac:picMkLst>
            <pc:docMk/>
            <pc:sldMk cId="2392828753" sldId="3131"/>
            <ac:picMk id="11" creationId="{07F5171E-9D70-4E08-82CE-82F43036908C}"/>
          </ac:picMkLst>
        </pc:picChg>
      </pc:sldChg>
      <pc:sldChg chg="addSp delSp modSp add">
        <pc:chgData name="卫 岩" userId="6b4f6ed025dfef75" providerId="LiveId" clId="{53FCA9A4-4E24-41C3-8030-14A98E7F0782}" dt="2020-02-13T07:25:03.276" v="4423" actId="2"/>
        <pc:sldMkLst>
          <pc:docMk/>
          <pc:sldMk cId="1286933873" sldId="3132"/>
        </pc:sldMkLst>
        <pc:spChg chg="mod">
          <ac:chgData name="卫 岩" userId="6b4f6ed025dfef75" providerId="LiveId" clId="{53FCA9A4-4E24-41C3-8030-14A98E7F0782}" dt="2020-02-13T04:06:38.224" v="888"/>
          <ac:spMkLst>
            <pc:docMk/>
            <pc:sldMk cId="1286933873" sldId="3132"/>
            <ac:spMk id="5" creationId="{00000000-0000-0000-0000-000000000000}"/>
          </ac:spMkLst>
        </pc:spChg>
        <pc:spChg chg="add mod">
          <ac:chgData name="卫 岩" userId="6b4f6ed025dfef75" providerId="LiveId" clId="{53FCA9A4-4E24-41C3-8030-14A98E7F0782}" dt="2020-02-13T04:27:08.110" v="1343" actId="113"/>
          <ac:spMkLst>
            <pc:docMk/>
            <pc:sldMk cId="1286933873" sldId="3132"/>
            <ac:spMk id="6" creationId="{E4468F73-A7E9-4D14-9A62-34F76EA59F7C}"/>
          </ac:spMkLst>
        </pc:spChg>
        <pc:graphicFrameChg chg="del">
          <ac:chgData name="卫 岩" userId="6b4f6ed025dfef75" providerId="LiveId" clId="{53FCA9A4-4E24-41C3-8030-14A98E7F0782}" dt="2020-02-13T04:07:00.332" v="889" actId="478"/>
          <ac:graphicFrameMkLst>
            <pc:docMk/>
            <pc:sldMk cId="1286933873" sldId="3132"/>
            <ac:graphicFrameMk id="2" creationId="{1485CC70-5333-4CB5-A3F6-A9440857C639}"/>
          </ac:graphicFrameMkLst>
        </pc:graphicFrameChg>
        <pc:graphicFrameChg chg="add del mod modGraphic">
          <ac:chgData name="卫 岩" userId="6b4f6ed025dfef75" providerId="LiveId" clId="{53FCA9A4-4E24-41C3-8030-14A98E7F0782}" dt="2020-02-13T04:10:10.573" v="918"/>
          <ac:graphicFrameMkLst>
            <pc:docMk/>
            <pc:sldMk cId="1286933873" sldId="3132"/>
            <ac:graphicFrameMk id="3" creationId="{E55F125D-921D-4DA4-8E2E-5963F7BCC08D}"/>
          </ac:graphicFrameMkLst>
        </pc:graphicFrameChg>
        <pc:graphicFrameChg chg="add mod modGraphic">
          <ac:chgData name="卫 岩" userId="6b4f6ed025dfef75" providerId="LiveId" clId="{53FCA9A4-4E24-41C3-8030-14A98E7F0782}" dt="2020-02-13T07:25:03.276" v="4423" actId="2"/>
          <ac:graphicFrameMkLst>
            <pc:docMk/>
            <pc:sldMk cId="1286933873" sldId="3132"/>
            <ac:graphicFrameMk id="4" creationId="{C1A14B4B-98BA-46F2-86AE-89B1087BEEFE}"/>
          </ac:graphicFrameMkLst>
        </pc:graphicFrameChg>
        <pc:picChg chg="add mod">
          <ac:chgData name="卫 岩" userId="6b4f6ed025dfef75" providerId="LiveId" clId="{53FCA9A4-4E24-41C3-8030-14A98E7F0782}" dt="2020-02-13T04:36:26.660" v="1449" actId="1076"/>
          <ac:picMkLst>
            <pc:docMk/>
            <pc:sldMk cId="1286933873" sldId="3132"/>
            <ac:picMk id="7" creationId="{D537531F-6B7D-4F71-AF7E-47C9B39C6A2C}"/>
          </ac:picMkLst>
        </pc:picChg>
        <pc:picChg chg="add del mod">
          <ac:chgData name="卫 岩" userId="6b4f6ed025dfef75" providerId="LiveId" clId="{53FCA9A4-4E24-41C3-8030-14A98E7F0782}" dt="2020-02-13T04:32:05.349" v="1355" actId="478"/>
          <ac:picMkLst>
            <pc:docMk/>
            <pc:sldMk cId="1286933873" sldId="3132"/>
            <ac:picMk id="8" creationId="{F9275A29-BCAA-4EA6-8ECC-55FE5175F7CB}"/>
          </ac:picMkLst>
        </pc:picChg>
        <pc:picChg chg="add del mod">
          <ac:chgData name="卫 岩" userId="6b4f6ed025dfef75" providerId="LiveId" clId="{53FCA9A4-4E24-41C3-8030-14A98E7F0782}" dt="2020-02-13T04:36:31.275" v="1451" actId="1076"/>
          <ac:picMkLst>
            <pc:docMk/>
            <pc:sldMk cId="1286933873" sldId="3132"/>
            <ac:picMk id="9" creationId="{367FE7F4-1D8A-454F-8C44-82367D65CF34}"/>
          </ac:picMkLst>
        </pc:picChg>
        <pc:picChg chg="add mod">
          <ac:chgData name="卫 岩" userId="6b4f6ed025dfef75" providerId="LiveId" clId="{53FCA9A4-4E24-41C3-8030-14A98E7F0782}" dt="2020-02-13T04:36:43.308" v="1456" actId="1076"/>
          <ac:picMkLst>
            <pc:docMk/>
            <pc:sldMk cId="1286933873" sldId="3132"/>
            <ac:picMk id="10" creationId="{813EAC9C-58E7-48E6-A452-AFDEB0E79EC3}"/>
          </ac:picMkLst>
        </pc:picChg>
        <pc:picChg chg="add del">
          <ac:chgData name="卫 岩" userId="6b4f6ed025dfef75" providerId="LiveId" clId="{53FCA9A4-4E24-41C3-8030-14A98E7F0782}" dt="2020-02-13T04:35:13.389" v="1416"/>
          <ac:picMkLst>
            <pc:docMk/>
            <pc:sldMk cId="1286933873" sldId="3132"/>
            <ac:picMk id="11" creationId="{73292A2E-0BE1-48D9-AAE3-44FF8629BFE4}"/>
          </ac:picMkLst>
        </pc:picChg>
        <pc:picChg chg="add mod">
          <ac:chgData name="卫 岩" userId="6b4f6ed025dfef75" providerId="LiveId" clId="{53FCA9A4-4E24-41C3-8030-14A98E7F0782}" dt="2020-02-13T04:36:34.357" v="1452" actId="1076"/>
          <ac:picMkLst>
            <pc:docMk/>
            <pc:sldMk cId="1286933873" sldId="3132"/>
            <ac:picMk id="12" creationId="{A50F1714-9874-4768-A8A2-4724C1496255}"/>
          </ac:picMkLst>
        </pc:picChg>
        <pc:picChg chg="add mod">
          <ac:chgData name="卫 岩" userId="6b4f6ed025dfef75" providerId="LiveId" clId="{53FCA9A4-4E24-41C3-8030-14A98E7F0782}" dt="2020-02-13T04:36:40.458" v="1455" actId="1076"/>
          <ac:picMkLst>
            <pc:docMk/>
            <pc:sldMk cId="1286933873" sldId="3132"/>
            <ac:picMk id="13" creationId="{BA7157A3-7D1B-4BDB-93EC-93BB4EB773A7}"/>
          </ac:picMkLst>
        </pc:picChg>
      </pc:sldChg>
      <pc:sldChg chg="addSp delSp modSp add">
        <pc:chgData name="卫 岩" userId="6b4f6ed025dfef75" providerId="LiveId" clId="{53FCA9A4-4E24-41C3-8030-14A98E7F0782}" dt="2020-02-13T07:25:38.365" v="4428" actId="12789"/>
        <pc:sldMkLst>
          <pc:docMk/>
          <pc:sldMk cId="2399753064" sldId="3133"/>
        </pc:sldMkLst>
        <pc:spChg chg="mod">
          <ac:chgData name="卫 岩" userId="6b4f6ed025dfef75" providerId="LiveId" clId="{53FCA9A4-4E24-41C3-8030-14A98E7F0782}" dt="2020-02-13T05:00:05.368" v="1870" actId="20577"/>
          <ac:spMkLst>
            <pc:docMk/>
            <pc:sldMk cId="2399753064" sldId="3133"/>
            <ac:spMk id="5" creationId="{00000000-0000-0000-0000-000000000000}"/>
          </ac:spMkLst>
        </pc:spChg>
        <pc:spChg chg="del">
          <ac:chgData name="卫 岩" userId="6b4f6ed025dfef75" providerId="LiveId" clId="{53FCA9A4-4E24-41C3-8030-14A98E7F0782}" dt="2020-02-13T04:37:14.636" v="1459" actId="478"/>
          <ac:spMkLst>
            <pc:docMk/>
            <pc:sldMk cId="2399753064" sldId="3133"/>
            <ac:spMk id="6" creationId="{E4468F73-A7E9-4D14-9A62-34F76EA59F7C}"/>
          </ac:spMkLst>
        </pc:spChg>
        <pc:spChg chg="add del mod">
          <ac:chgData name="卫 岩" userId="6b4f6ed025dfef75" providerId="LiveId" clId="{53FCA9A4-4E24-41C3-8030-14A98E7F0782}" dt="2020-02-13T04:49:47.394" v="1503" actId="478"/>
          <ac:spMkLst>
            <pc:docMk/>
            <pc:sldMk cId="2399753064" sldId="3133"/>
            <ac:spMk id="8" creationId="{A6D15A12-2D15-46FF-B489-62FB7F381AE1}"/>
          </ac:spMkLst>
        </pc:spChg>
        <pc:spChg chg="add del mod">
          <ac:chgData name="卫 岩" userId="6b4f6ed025dfef75" providerId="LiveId" clId="{53FCA9A4-4E24-41C3-8030-14A98E7F0782}" dt="2020-02-13T05:00:30.721" v="1872" actId="478"/>
          <ac:spMkLst>
            <pc:docMk/>
            <pc:sldMk cId="2399753064" sldId="3133"/>
            <ac:spMk id="11" creationId="{700ED29D-64B9-4AD8-9C49-EC4210393A46}"/>
          </ac:spMkLst>
        </pc:spChg>
        <pc:spChg chg="add del mod">
          <ac:chgData name="卫 岩" userId="6b4f6ed025dfef75" providerId="LiveId" clId="{53FCA9A4-4E24-41C3-8030-14A98E7F0782}" dt="2020-02-13T05:54:19.301" v="3662" actId="478"/>
          <ac:spMkLst>
            <pc:docMk/>
            <pc:sldMk cId="2399753064" sldId="3133"/>
            <ac:spMk id="22" creationId="{9FF521A0-06EE-41BF-AD4A-5F1894C36F8D}"/>
          </ac:spMkLst>
        </pc:spChg>
        <pc:spChg chg="add del mod">
          <ac:chgData name="卫 岩" userId="6b4f6ed025dfef75" providerId="LiveId" clId="{53FCA9A4-4E24-41C3-8030-14A98E7F0782}" dt="2020-02-13T05:54:26.665" v="3665" actId="478"/>
          <ac:spMkLst>
            <pc:docMk/>
            <pc:sldMk cId="2399753064" sldId="3133"/>
            <ac:spMk id="23" creationId="{2D73656D-8312-422F-BF0E-5386E3F60214}"/>
          </ac:spMkLst>
        </pc:spChg>
        <pc:spChg chg="add del mod">
          <ac:chgData name="卫 岩" userId="6b4f6ed025dfef75" providerId="LiveId" clId="{53FCA9A4-4E24-41C3-8030-14A98E7F0782}" dt="2020-02-13T05:56:14.213" v="3678" actId="478"/>
          <ac:spMkLst>
            <pc:docMk/>
            <pc:sldMk cId="2399753064" sldId="3133"/>
            <ac:spMk id="24" creationId="{02A32894-D907-4B4D-8A8E-F516C524B80D}"/>
          </ac:spMkLst>
        </pc:spChg>
        <pc:graphicFrameChg chg="add del mod modGraphic">
          <ac:chgData name="卫 岩" userId="6b4f6ed025dfef75" providerId="LiveId" clId="{53FCA9A4-4E24-41C3-8030-14A98E7F0782}" dt="2020-02-13T04:49:31.409" v="1494" actId="478"/>
          <ac:graphicFrameMkLst>
            <pc:docMk/>
            <pc:sldMk cId="2399753064" sldId="3133"/>
            <ac:graphicFrameMk id="2" creationId="{887B7C9D-2447-4505-9F91-D03D62B55107}"/>
          </ac:graphicFrameMkLst>
        </pc:graphicFrameChg>
        <pc:graphicFrameChg chg="del">
          <ac:chgData name="卫 岩" userId="6b4f6ed025dfef75" providerId="LiveId" clId="{53FCA9A4-4E24-41C3-8030-14A98E7F0782}" dt="2020-02-13T04:37:09.869" v="1458" actId="478"/>
          <ac:graphicFrameMkLst>
            <pc:docMk/>
            <pc:sldMk cId="2399753064" sldId="3133"/>
            <ac:graphicFrameMk id="4" creationId="{C1A14B4B-98BA-46F2-86AE-89B1087BEEFE}"/>
          </ac:graphicFrameMkLst>
        </pc:graphicFrameChg>
        <pc:graphicFrameChg chg="add mod">
          <ac:chgData name="卫 岩" userId="6b4f6ed025dfef75" providerId="LiveId" clId="{53FCA9A4-4E24-41C3-8030-14A98E7F0782}" dt="2020-02-13T07:25:15.084" v="4427" actId="2"/>
          <ac:graphicFrameMkLst>
            <pc:docMk/>
            <pc:sldMk cId="2399753064" sldId="3133"/>
            <ac:graphicFrameMk id="14" creationId="{5DBF3E5E-7155-4187-BB42-30D9F3A1E6F6}"/>
          </ac:graphicFrameMkLst>
        </pc:graphicFrameChg>
        <pc:picChg chg="del mod">
          <ac:chgData name="卫 岩" userId="6b4f6ed025dfef75" providerId="LiveId" clId="{53FCA9A4-4E24-41C3-8030-14A98E7F0782}" dt="2020-02-13T05:32:01.081" v="2721" actId="478"/>
          <ac:picMkLst>
            <pc:docMk/>
            <pc:sldMk cId="2399753064" sldId="3133"/>
            <ac:picMk id="7" creationId="{D537531F-6B7D-4F71-AF7E-47C9B39C6A2C}"/>
          </ac:picMkLst>
        </pc:picChg>
        <pc:picChg chg="del mod">
          <ac:chgData name="卫 岩" userId="6b4f6ed025dfef75" providerId="LiveId" clId="{53FCA9A4-4E24-41C3-8030-14A98E7F0782}" dt="2020-02-13T05:32:03.139" v="2723" actId="478"/>
          <ac:picMkLst>
            <pc:docMk/>
            <pc:sldMk cId="2399753064" sldId="3133"/>
            <ac:picMk id="9" creationId="{367FE7F4-1D8A-454F-8C44-82367D65CF34}"/>
          </ac:picMkLst>
        </pc:picChg>
        <pc:picChg chg="del">
          <ac:chgData name="卫 岩" userId="6b4f6ed025dfef75" providerId="LiveId" clId="{53FCA9A4-4E24-41C3-8030-14A98E7F0782}" dt="2020-02-13T05:32:02.087" v="2722" actId="478"/>
          <ac:picMkLst>
            <pc:docMk/>
            <pc:sldMk cId="2399753064" sldId="3133"/>
            <ac:picMk id="10" creationId="{813EAC9C-58E7-48E6-A452-AFDEB0E79EC3}"/>
          </ac:picMkLst>
        </pc:picChg>
        <pc:picChg chg="mod">
          <ac:chgData name="卫 岩" userId="6b4f6ed025dfef75" providerId="LiveId" clId="{53FCA9A4-4E24-41C3-8030-14A98E7F0782}" dt="2020-02-13T07:25:38.365" v="4428" actId="12789"/>
          <ac:picMkLst>
            <pc:docMk/>
            <pc:sldMk cId="2399753064" sldId="3133"/>
            <ac:picMk id="12" creationId="{A50F1714-9874-4768-A8A2-4724C1496255}"/>
          </ac:picMkLst>
        </pc:picChg>
        <pc:picChg chg="del">
          <ac:chgData name="卫 岩" userId="6b4f6ed025dfef75" providerId="LiveId" clId="{53FCA9A4-4E24-41C3-8030-14A98E7F0782}" dt="2020-02-13T05:31:59.788" v="2720" actId="478"/>
          <ac:picMkLst>
            <pc:docMk/>
            <pc:sldMk cId="2399753064" sldId="3133"/>
            <ac:picMk id="13" creationId="{BA7157A3-7D1B-4BDB-93EC-93BB4EB773A7}"/>
          </ac:picMkLst>
        </pc:picChg>
        <pc:picChg chg="add mod">
          <ac:chgData name="卫 岩" userId="6b4f6ed025dfef75" providerId="LiveId" clId="{53FCA9A4-4E24-41C3-8030-14A98E7F0782}" dt="2020-02-13T07:25:38.365" v="4428" actId="12789"/>
          <ac:picMkLst>
            <pc:docMk/>
            <pc:sldMk cId="2399753064" sldId="3133"/>
            <ac:picMk id="15" creationId="{6CC2D49D-0F68-4BFD-9535-49CB50440180}"/>
          </ac:picMkLst>
        </pc:picChg>
        <pc:picChg chg="add del mod">
          <ac:chgData name="卫 岩" userId="6b4f6ed025dfef75" providerId="LiveId" clId="{53FCA9A4-4E24-41C3-8030-14A98E7F0782}" dt="2020-02-13T05:20:50.626" v="2367" actId="478"/>
          <ac:picMkLst>
            <pc:docMk/>
            <pc:sldMk cId="2399753064" sldId="3133"/>
            <ac:picMk id="16" creationId="{6D6F938B-12C2-498D-BFE9-10EBCF0FF173}"/>
          </ac:picMkLst>
        </pc:picChg>
        <pc:picChg chg="add del mod">
          <ac:chgData name="卫 岩" userId="6b4f6ed025dfef75" providerId="LiveId" clId="{53FCA9A4-4E24-41C3-8030-14A98E7F0782}" dt="2020-02-13T05:28:01.765" v="2475" actId="478"/>
          <ac:picMkLst>
            <pc:docMk/>
            <pc:sldMk cId="2399753064" sldId="3133"/>
            <ac:picMk id="17" creationId="{D161D8C3-0066-4A3A-9CF7-C61D2FFF2D72}"/>
          </ac:picMkLst>
        </pc:picChg>
        <pc:picChg chg="add mod">
          <ac:chgData name="卫 岩" userId="6b4f6ed025dfef75" providerId="LiveId" clId="{53FCA9A4-4E24-41C3-8030-14A98E7F0782}" dt="2020-02-13T07:25:38.365" v="4428" actId="12789"/>
          <ac:picMkLst>
            <pc:docMk/>
            <pc:sldMk cId="2399753064" sldId="3133"/>
            <ac:picMk id="18" creationId="{239A8E77-E586-41CA-BD45-75720090B930}"/>
          </ac:picMkLst>
        </pc:picChg>
        <pc:picChg chg="add del mod">
          <ac:chgData name="卫 岩" userId="6b4f6ed025dfef75" providerId="LiveId" clId="{53FCA9A4-4E24-41C3-8030-14A98E7F0782}" dt="2020-02-13T05:38:59.374" v="3010" actId="478"/>
          <ac:picMkLst>
            <pc:docMk/>
            <pc:sldMk cId="2399753064" sldId="3133"/>
            <ac:picMk id="19" creationId="{A25FE5E7-D04E-45DF-AE7D-2EF959090757}"/>
          </ac:picMkLst>
        </pc:picChg>
        <pc:picChg chg="add mod">
          <ac:chgData name="卫 岩" userId="6b4f6ed025dfef75" providerId="LiveId" clId="{53FCA9A4-4E24-41C3-8030-14A98E7F0782}" dt="2020-02-13T07:25:38.365" v="4428" actId="12789"/>
          <ac:picMkLst>
            <pc:docMk/>
            <pc:sldMk cId="2399753064" sldId="3133"/>
            <ac:picMk id="20" creationId="{56868B06-5760-406B-9B52-CB8CD0A8F85A}"/>
          </ac:picMkLst>
        </pc:picChg>
        <pc:picChg chg="add mod">
          <ac:chgData name="卫 岩" userId="6b4f6ed025dfef75" providerId="LiveId" clId="{53FCA9A4-4E24-41C3-8030-14A98E7F0782}" dt="2020-02-13T07:25:38.365" v="4428" actId="12789"/>
          <ac:picMkLst>
            <pc:docMk/>
            <pc:sldMk cId="2399753064" sldId="3133"/>
            <ac:picMk id="21" creationId="{24728C87-78B4-4718-B691-93AEE02289F5}"/>
          </ac:picMkLst>
        </pc:picChg>
        <pc:picChg chg="add mod">
          <ac:chgData name="卫 岩" userId="6b4f6ed025dfef75" providerId="LiveId" clId="{53FCA9A4-4E24-41C3-8030-14A98E7F0782}" dt="2020-02-13T05:53:46.105" v="3654" actId="14100"/>
          <ac:picMkLst>
            <pc:docMk/>
            <pc:sldMk cId="2399753064" sldId="3133"/>
            <ac:picMk id="7170" creationId="{5E647462-E233-43CE-A422-39ED377A488B}"/>
          </ac:picMkLst>
        </pc:picChg>
        <pc:picChg chg="add mod">
          <ac:chgData name="卫 岩" userId="6b4f6ed025dfef75" providerId="LiveId" clId="{53FCA9A4-4E24-41C3-8030-14A98E7F0782}" dt="2020-02-13T05:53:54.701" v="3659" actId="14100"/>
          <ac:picMkLst>
            <pc:docMk/>
            <pc:sldMk cId="2399753064" sldId="3133"/>
            <ac:picMk id="7172" creationId="{F99B6C97-94EF-4F96-802C-70E1153D43EA}"/>
          </ac:picMkLst>
        </pc:picChg>
        <pc:picChg chg="add mod">
          <ac:chgData name="卫 岩" userId="6b4f6ed025dfef75" providerId="LiveId" clId="{53FCA9A4-4E24-41C3-8030-14A98E7F0782}" dt="2020-02-13T05:55:33.472" v="3670" actId="1076"/>
          <ac:picMkLst>
            <pc:docMk/>
            <pc:sldMk cId="2399753064" sldId="3133"/>
            <ac:picMk id="7178" creationId="{2D1CBA72-D58D-4702-9EB6-6599C8872964}"/>
          </ac:picMkLst>
        </pc:picChg>
        <pc:picChg chg="add mod">
          <ac:chgData name="卫 岩" userId="6b4f6ed025dfef75" providerId="LiveId" clId="{53FCA9A4-4E24-41C3-8030-14A98E7F0782}" dt="2020-02-13T05:55:55.865" v="3675" actId="1076"/>
          <ac:picMkLst>
            <pc:docMk/>
            <pc:sldMk cId="2399753064" sldId="3133"/>
            <ac:picMk id="7180" creationId="{1C0B034C-7B3C-4530-A45B-C26367992764}"/>
          </ac:picMkLst>
        </pc:picChg>
        <pc:picChg chg="add mod">
          <ac:chgData name="卫 岩" userId="6b4f6ed025dfef75" providerId="LiveId" clId="{53FCA9A4-4E24-41C3-8030-14A98E7F0782}" dt="2020-02-13T05:56:25.676" v="3681" actId="1076"/>
          <ac:picMkLst>
            <pc:docMk/>
            <pc:sldMk cId="2399753064" sldId="3133"/>
            <ac:picMk id="7184" creationId="{7EC975FC-93E9-4858-989E-F4A32BD2E41B}"/>
          </ac:picMkLst>
        </pc:picChg>
      </pc:sldChg>
      <pc:sldChg chg="addSp delSp modSp add">
        <pc:chgData name="卫 岩" userId="6b4f6ed025dfef75" providerId="LiveId" clId="{53FCA9A4-4E24-41C3-8030-14A98E7F0782}" dt="2020-02-13T07:59:07.456" v="5219"/>
        <pc:sldMkLst>
          <pc:docMk/>
          <pc:sldMk cId="984149069" sldId="3134"/>
        </pc:sldMkLst>
        <pc:spChg chg="add mod">
          <ac:chgData name="卫 岩" userId="6b4f6ed025dfef75" providerId="LiveId" clId="{53FCA9A4-4E24-41C3-8030-14A98E7F0782}" dt="2020-02-13T07:59:07.456" v="5219"/>
          <ac:spMkLst>
            <pc:docMk/>
            <pc:sldMk cId="984149069" sldId="3134"/>
            <ac:spMk id="3" creationId="{AB01A181-795E-4331-976B-D828FCF4ACCE}"/>
          </ac:spMkLst>
        </pc:spChg>
        <pc:spChg chg="add mod">
          <ac:chgData name="卫 岩" userId="6b4f6ed025dfef75" providerId="LiveId" clId="{53FCA9A4-4E24-41C3-8030-14A98E7F0782}" dt="2020-02-13T07:57:27.842" v="5169" actId="1076"/>
          <ac:spMkLst>
            <pc:docMk/>
            <pc:sldMk cId="984149069" sldId="3134"/>
            <ac:spMk id="4" creationId="{0508FB56-B23E-46A7-879A-96BCDE39509F}"/>
          </ac:spMkLst>
        </pc:spChg>
        <pc:spChg chg="mod">
          <ac:chgData name="卫 岩" userId="6b4f6ed025dfef75" providerId="LiveId" clId="{53FCA9A4-4E24-41C3-8030-14A98E7F0782}" dt="2020-02-13T04:59:46.972" v="1860"/>
          <ac:spMkLst>
            <pc:docMk/>
            <pc:sldMk cId="984149069" sldId="3134"/>
            <ac:spMk id="5" creationId="{00000000-0000-0000-0000-000000000000}"/>
          </ac:spMkLst>
        </pc:spChg>
        <pc:spChg chg="del">
          <ac:chgData name="卫 岩" userId="6b4f6ed025dfef75" providerId="LiveId" clId="{53FCA9A4-4E24-41C3-8030-14A98E7F0782}" dt="2020-02-13T04:53:03.895" v="1553" actId="478"/>
          <ac:spMkLst>
            <pc:docMk/>
            <pc:sldMk cId="984149069" sldId="3134"/>
            <ac:spMk id="6" creationId="{C302EB41-7201-4737-875A-16FAC28C290E}"/>
          </ac:spMkLst>
        </pc:spChg>
        <pc:graphicFrameChg chg="del">
          <ac:chgData name="卫 岩" userId="6b4f6ed025dfef75" providerId="LiveId" clId="{53FCA9A4-4E24-41C3-8030-14A98E7F0782}" dt="2020-02-13T04:53:02.883" v="1552" actId="478"/>
          <ac:graphicFrameMkLst>
            <pc:docMk/>
            <pc:sldMk cId="984149069" sldId="3134"/>
            <ac:graphicFrameMk id="2" creationId="{1485CC70-5333-4CB5-A3F6-A9440857C639}"/>
          </ac:graphicFrameMkLst>
        </pc:graphicFrameChg>
        <pc:picChg chg="add del mod">
          <ac:chgData name="卫 岩" userId="6b4f6ed025dfef75" providerId="LiveId" clId="{53FCA9A4-4E24-41C3-8030-14A98E7F0782}" dt="2020-02-13T04:55:57.600" v="1793" actId="478"/>
          <ac:picMkLst>
            <pc:docMk/>
            <pc:sldMk cId="984149069" sldId="3134"/>
            <ac:picMk id="7" creationId="{D2B0C1BE-4586-458F-B96A-503AE3A1AEF3}"/>
          </ac:picMkLst>
        </pc:picChg>
        <pc:picChg chg="add mod">
          <ac:chgData name="卫 岩" userId="6b4f6ed025dfef75" providerId="LiveId" clId="{53FCA9A4-4E24-41C3-8030-14A98E7F0782}" dt="2020-02-13T07:57:27.842" v="5169" actId="1076"/>
          <ac:picMkLst>
            <pc:docMk/>
            <pc:sldMk cId="984149069" sldId="3134"/>
            <ac:picMk id="8" creationId="{58E8E08B-9DCD-4156-AB0E-6191AE327EE0}"/>
          </ac:picMkLst>
        </pc:picChg>
        <pc:picChg chg="add mod">
          <ac:chgData name="卫 岩" userId="6b4f6ed025dfef75" providerId="LiveId" clId="{53FCA9A4-4E24-41C3-8030-14A98E7F0782}" dt="2020-02-13T07:57:27.842" v="5169" actId="1076"/>
          <ac:picMkLst>
            <pc:docMk/>
            <pc:sldMk cId="984149069" sldId="3134"/>
            <ac:picMk id="6146" creationId="{00045816-1D71-4FB5-8252-94CDD200B3C7}"/>
          </ac:picMkLst>
        </pc:picChg>
      </pc:sldChg>
      <pc:sldChg chg="addSp delSp modSp add">
        <pc:chgData name="卫 岩" userId="6b4f6ed025dfef75" providerId="LiveId" clId="{53FCA9A4-4E24-41C3-8030-14A98E7F0782}" dt="2020-02-13T07:08:31.383" v="4047" actId="207"/>
        <pc:sldMkLst>
          <pc:docMk/>
          <pc:sldMk cId="4121983327" sldId="3135"/>
        </pc:sldMkLst>
        <pc:spChg chg="del">
          <ac:chgData name="卫 岩" userId="6b4f6ed025dfef75" providerId="LiveId" clId="{53FCA9A4-4E24-41C3-8030-14A98E7F0782}" dt="2020-02-13T06:12:20.941" v="3710" actId="478"/>
          <ac:spMkLst>
            <pc:docMk/>
            <pc:sldMk cId="4121983327" sldId="3135"/>
            <ac:spMk id="3" creationId="{AB01A181-795E-4331-976B-D828FCF4ACCE}"/>
          </ac:spMkLst>
        </pc:spChg>
        <pc:spChg chg="del">
          <ac:chgData name="卫 岩" userId="6b4f6ed025dfef75" providerId="LiveId" clId="{53FCA9A4-4E24-41C3-8030-14A98E7F0782}" dt="2020-02-13T06:12:21.979" v="3712" actId="478"/>
          <ac:spMkLst>
            <pc:docMk/>
            <pc:sldMk cId="4121983327" sldId="3135"/>
            <ac:spMk id="4" creationId="{0508FB56-B23E-46A7-879A-96BCDE39509F}"/>
          </ac:spMkLst>
        </pc:spChg>
        <pc:spChg chg="mod">
          <ac:chgData name="卫 岩" userId="6b4f6ed025dfef75" providerId="LiveId" clId="{53FCA9A4-4E24-41C3-8030-14A98E7F0782}" dt="2020-02-13T06:59:33.331" v="4032"/>
          <ac:spMkLst>
            <pc:docMk/>
            <pc:sldMk cId="4121983327" sldId="3135"/>
            <ac:spMk id="5" creationId="{00000000-0000-0000-0000-000000000000}"/>
          </ac:spMkLst>
        </pc:spChg>
        <pc:spChg chg="add mod">
          <ac:chgData name="卫 岩" userId="6b4f6ed025dfef75" providerId="LiveId" clId="{53FCA9A4-4E24-41C3-8030-14A98E7F0782}" dt="2020-02-13T07:05:26.118" v="4037" actId="1076"/>
          <ac:spMkLst>
            <pc:docMk/>
            <pc:sldMk cId="4121983327" sldId="3135"/>
            <ac:spMk id="16" creationId="{6552AF0D-DD1B-4713-9265-733E80EF034D}"/>
          </ac:spMkLst>
        </pc:spChg>
        <pc:spChg chg="add mod">
          <ac:chgData name="卫 岩" userId="6b4f6ed025dfef75" providerId="LiveId" clId="{53FCA9A4-4E24-41C3-8030-14A98E7F0782}" dt="2020-02-13T06:59:06.757" v="4023" actId="13822"/>
          <ac:spMkLst>
            <pc:docMk/>
            <pc:sldMk cId="4121983327" sldId="3135"/>
            <ac:spMk id="18" creationId="{D9A69F91-88C5-4F88-A9F7-CF930D4EA69C}"/>
          </ac:spMkLst>
        </pc:spChg>
        <pc:spChg chg="add mod">
          <ac:chgData name="卫 岩" userId="6b4f6ed025dfef75" providerId="LiveId" clId="{53FCA9A4-4E24-41C3-8030-14A98E7F0782}" dt="2020-02-13T06:53:27.003" v="3921" actId="1076"/>
          <ac:spMkLst>
            <pc:docMk/>
            <pc:sldMk cId="4121983327" sldId="3135"/>
            <ac:spMk id="19" creationId="{212AE1CF-2B80-4A5F-B475-F4CD1AEF206E}"/>
          </ac:spMkLst>
        </pc:spChg>
        <pc:spChg chg="add mod">
          <ac:chgData name="卫 岩" userId="6b4f6ed025dfef75" providerId="LiveId" clId="{53FCA9A4-4E24-41C3-8030-14A98E7F0782}" dt="2020-02-13T06:59:06.757" v="4023" actId="13822"/>
          <ac:spMkLst>
            <pc:docMk/>
            <pc:sldMk cId="4121983327" sldId="3135"/>
            <ac:spMk id="20" creationId="{4DA747AA-D052-4143-84CA-5EFD336D1DB8}"/>
          </ac:spMkLst>
        </pc:spChg>
        <pc:spChg chg="add mod">
          <ac:chgData name="卫 岩" userId="6b4f6ed025dfef75" providerId="LiveId" clId="{53FCA9A4-4E24-41C3-8030-14A98E7F0782}" dt="2020-02-13T06:59:06.757" v="4023" actId="13822"/>
          <ac:spMkLst>
            <pc:docMk/>
            <pc:sldMk cId="4121983327" sldId="3135"/>
            <ac:spMk id="21" creationId="{0F1E0B2E-B478-4A14-9FB1-12C5F4170D9D}"/>
          </ac:spMkLst>
        </pc:spChg>
        <pc:spChg chg="add mod">
          <ac:chgData name="卫 岩" userId="6b4f6ed025dfef75" providerId="LiveId" clId="{53FCA9A4-4E24-41C3-8030-14A98E7F0782}" dt="2020-02-13T06:59:06.757" v="4023" actId="13822"/>
          <ac:spMkLst>
            <pc:docMk/>
            <pc:sldMk cId="4121983327" sldId="3135"/>
            <ac:spMk id="22" creationId="{70473A33-E43B-486C-8778-0E7E50653E07}"/>
          </ac:spMkLst>
        </pc:spChg>
        <pc:spChg chg="add mod">
          <ac:chgData name="卫 岩" userId="6b4f6ed025dfef75" providerId="LiveId" clId="{53FCA9A4-4E24-41C3-8030-14A98E7F0782}" dt="2020-02-13T06:57:13.358" v="4012" actId="207"/>
          <ac:spMkLst>
            <pc:docMk/>
            <pc:sldMk cId="4121983327" sldId="3135"/>
            <ac:spMk id="23" creationId="{3FA4DE98-45F5-424F-98BB-3A1061BCFE34}"/>
          </ac:spMkLst>
        </pc:spChg>
        <pc:spChg chg="add del mod">
          <ac:chgData name="卫 岩" userId="6b4f6ed025dfef75" providerId="LiveId" clId="{53FCA9A4-4E24-41C3-8030-14A98E7F0782}" dt="2020-02-13T06:50:06.636" v="3878" actId="478"/>
          <ac:spMkLst>
            <pc:docMk/>
            <pc:sldMk cId="4121983327" sldId="3135"/>
            <ac:spMk id="24" creationId="{4AD2757E-4C0D-4AB9-9B35-F65F62473B38}"/>
          </ac:spMkLst>
        </pc:spChg>
        <pc:spChg chg="add mod">
          <ac:chgData name="卫 岩" userId="6b4f6ed025dfef75" providerId="LiveId" clId="{53FCA9A4-4E24-41C3-8030-14A98E7F0782}" dt="2020-02-13T07:08:31.383" v="4047" actId="207"/>
          <ac:spMkLst>
            <pc:docMk/>
            <pc:sldMk cId="4121983327" sldId="3135"/>
            <ac:spMk id="75" creationId="{E1F24F8A-9AFF-4C5C-9390-31D0E13D280B}"/>
          </ac:spMkLst>
        </pc:spChg>
        <pc:spChg chg="add mod">
          <ac:chgData name="卫 岩" userId="6b4f6ed025dfef75" providerId="LiveId" clId="{53FCA9A4-4E24-41C3-8030-14A98E7F0782}" dt="2020-02-13T06:58:53.217" v="4021" actId="207"/>
          <ac:spMkLst>
            <pc:docMk/>
            <pc:sldMk cId="4121983327" sldId="3135"/>
            <ac:spMk id="76" creationId="{E6295641-74E0-4640-BE12-BBC900070E93}"/>
          </ac:spMkLst>
        </pc:spChg>
        <pc:spChg chg="add mod">
          <ac:chgData name="卫 岩" userId="6b4f6ed025dfef75" providerId="LiveId" clId="{53FCA9A4-4E24-41C3-8030-14A98E7F0782}" dt="2020-02-13T06:58:53.217" v="4021" actId="207"/>
          <ac:spMkLst>
            <pc:docMk/>
            <pc:sldMk cId="4121983327" sldId="3135"/>
            <ac:spMk id="77" creationId="{A5DFCEBB-7007-4A34-A4B0-539095FA1DB9}"/>
          </ac:spMkLst>
        </pc:spChg>
        <pc:spChg chg="add mod">
          <ac:chgData name="卫 岩" userId="6b4f6ed025dfef75" providerId="LiveId" clId="{53FCA9A4-4E24-41C3-8030-14A98E7F0782}" dt="2020-02-13T06:57:41.401" v="4016" actId="207"/>
          <ac:spMkLst>
            <pc:docMk/>
            <pc:sldMk cId="4121983327" sldId="3135"/>
            <ac:spMk id="6154" creationId="{A095CAB2-5E7B-4D33-AEA6-B9F51C62BD11}"/>
          </ac:spMkLst>
        </pc:spChg>
        <pc:picChg chg="add del mod modCrop">
          <ac:chgData name="卫 岩" userId="6b4f6ed025dfef75" providerId="LiveId" clId="{53FCA9A4-4E24-41C3-8030-14A98E7F0782}" dt="2020-02-13T06:35:19.491" v="3728" actId="478"/>
          <ac:picMkLst>
            <pc:docMk/>
            <pc:sldMk cId="4121983327" sldId="3135"/>
            <ac:picMk id="6" creationId="{B0992077-131A-48C1-B571-DBC9A542B6EF}"/>
          </ac:picMkLst>
        </pc:picChg>
        <pc:picChg chg="del">
          <ac:chgData name="卫 岩" userId="6b4f6ed025dfef75" providerId="LiveId" clId="{53FCA9A4-4E24-41C3-8030-14A98E7F0782}" dt="2020-02-13T06:12:21.494" v="3711" actId="478"/>
          <ac:picMkLst>
            <pc:docMk/>
            <pc:sldMk cId="4121983327" sldId="3135"/>
            <ac:picMk id="8" creationId="{58E8E08B-9DCD-4156-AB0E-6191AE327EE0}"/>
          </ac:picMkLst>
        </pc:picChg>
        <pc:picChg chg="add del mod">
          <ac:chgData name="卫 岩" userId="6b4f6ed025dfef75" providerId="LiveId" clId="{53FCA9A4-4E24-41C3-8030-14A98E7F0782}" dt="2020-02-13T06:33:40.392" v="3722" actId="478"/>
          <ac:picMkLst>
            <pc:docMk/>
            <pc:sldMk cId="4121983327" sldId="3135"/>
            <ac:picMk id="9" creationId="{D5F928DD-D390-4FA8-A80B-6070C96B0862}"/>
          </ac:picMkLst>
        </pc:picChg>
        <pc:picChg chg="add del mod modCrop">
          <ac:chgData name="卫 岩" userId="6b4f6ed025dfef75" providerId="LiveId" clId="{53FCA9A4-4E24-41C3-8030-14A98E7F0782}" dt="2020-02-13T06:37:24.791" v="3734" actId="478"/>
          <ac:picMkLst>
            <pc:docMk/>
            <pc:sldMk cId="4121983327" sldId="3135"/>
            <ac:picMk id="11" creationId="{9910A719-0200-46D9-9353-0AEBB07426F8}"/>
          </ac:picMkLst>
        </pc:picChg>
        <pc:picChg chg="add del mod">
          <ac:chgData name="卫 岩" userId="6b4f6ed025dfef75" providerId="LiveId" clId="{53FCA9A4-4E24-41C3-8030-14A98E7F0782}" dt="2020-02-13T06:38:45.807" v="3736" actId="478"/>
          <ac:picMkLst>
            <pc:docMk/>
            <pc:sldMk cId="4121983327" sldId="3135"/>
            <ac:picMk id="13" creationId="{20FA0B73-A77E-4E9A-A8DE-6709F00F3FE5}"/>
          </ac:picMkLst>
        </pc:picChg>
        <pc:picChg chg="add del mod">
          <ac:chgData name="卫 岩" userId="6b4f6ed025dfef75" providerId="LiveId" clId="{53FCA9A4-4E24-41C3-8030-14A98E7F0782}" dt="2020-02-13T06:39:50.447" v="3740" actId="478"/>
          <ac:picMkLst>
            <pc:docMk/>
            <pc:sldMk cId="4121983327" sldId="3135"/>
            <ac:picMk id="15" creationId="{F5B36064-8CBF-46A7-A539-091ECD818973}"/>
          </ac:picMkLst>
        </pc:picChg>
        <pc:picChg chg="add mod">
          <ac:chgData name="卫 岩" userId="6b4f6ed025dfef75" providerId="LiveId" clId="{53FCA9A4-4E24-41C3-8030-14A98E7F0782}" dt="2020-02-13T07:06:35.623" v="4040" actId="1076"/>
          <ac:picMkLst>
            <pc:docMk/>
            <pc:sldMk cId="4121983327" sldId="3135"/>
            <ac:picMk id="52" creationId="{46B13345-DBAD-48B1-B753-76792A45B081}"/>
          </ac:picMkLst>
        </pc:picChg>
        <pc:picChg chg="add del">
          <ac:chgData name="卫 岩" userId="6b4f6ed025dfef75" providerId="LiveId" clId="{53FCA9A4-4E24-41C3-8030-14A98E7F0782}" dt="2020-02-13T06:51:04.642" v="3890" actId="478"/>
          <ac:picMkLst>
            <pc:docMk/>
            <pc:sldMk cId="4121983327" sldId="3135"/>
            <ac:picMk id="53" creationId="{12929241-8BC4-4A6D-91C9-48C73CA21D01}"/>
          </ac:picMkLst>
        </pc:picChg>
        <pc:picChg chg="add mod">
          <ac:chgData name="卫 岩" userId="6b4f6ed025dfef75" providerId="LiveId" clId="{53FCA9A4-4E24-41C3-8030-14A98E7F0782}" dt="2020-02-13T07:06:37.221" v="4041" actId="1076"/>
          <ac:picMkLst>
            <pc:docMk/>
            <pc:sldMk cId="4121983327" sldId="3135"/>
            <ac:picMk id="54" creationId="{C29C7F62-9718-4289-8C53-8E5CE319D94C}"/>
          </ac:picMkLst>
        </pc:picChg>
        <pc:picChg chg="add mod">
          <ac:chgData name="卫 岩" userId="6b4f6ed025dfef75" providerId="LiveId" clId="{53FCA9A4-4E24-41C3-8030-14A98E7F0782}" dt="2020-02-13T07:06:38.663" v="4042" actId="1076"/>
          <ac:picMkLst>
            <pc:docMk/>
            <pc:sldMk cId="4121983327" sldId="3135"/>
            <ac:picMk id="55" creationId="{26F3B591-EACC-4F7E-80BA-143F0954EEF0}"/>
          </ac:picMkLst>
        </pc:picChg>
        <pc:picChg chg="add mod">
          <ac:chgData name="卫 岩" userId="6b4f6ed025dfef75" providerId="LiveId" clId="{53FCA9A4-4E24-41C3-8030-14A98E7F0782}" dt="2020-02-13T07:06:40.260" v="4043" actId="1076"/>
          <ac:picMkLst>
            <pc:docMk/>
            <pc:sldMk cId="4121983327" sldId="3135"/>
            <ac:picMk id="56" creationId="{A209D476-9563-4D7F-BC71-ED2B38DDDC74}"/>
          </ac:picMkLst>
        </pc:picChg>
        <pc:picChg chg="add mod">
          <ac:chgData name="卫 岩" userId="6b4f6ed025dfef75" providerId="LiveId" clId="{53FCA9A4-4E24-41C3-8030-14A98E7F0782}" dt="2020-02-13T07:06:49.785" v="4045" actId="1076"/>
          <ac:picMkLst>
            <pc:docMk/>
            <pc:sldMk cId="4121983327" sldId="3135"/>
            <ac:picMk id="57" creationId="{C17C6539-1B8C-4563-9550-C0E342F0DF8A}"/>
          </ac:picMkLst>
        </pc:picChg>
        <pc:picChg chg="add mod">
          <ac:chgData name="卫 岩" userId="6b4f6ed025dfef75" providerId="LiveId" clId="{53FCA9A4-4E24-41C3-8030-14A98E7F0782}" dt="2020-02-13T07:06:30.250" v="4038" actId="1076"/>
          <ac:picMkLst>
            <pc:docMk/>
            <pc:sldMk cId="4121983327" sldId="3135"/>
            <ac:picMk id="58" creationId="{BB88D04A-FFCB-42EE-A54B-C28AF39BB209}"/>
          </ac:picMkLst>
        </pc:picChg>
        <pc:picChg chg="add del">
          <ac:chgData name="卫 岩" userId="6b4f6ed025dfef75" providerId="LiveId" clId="{53FCA9A4-4E24-41C3-8030-14A98E7F0782}" dt="2020-02-13T06:52:24.354" v="3905" actId="478"/>
          <ac:picMkLst>
            <pc:docMk/>
            <pc:sldMk cId="4121983327" sldId="3135"/>
            <ac:picMk id="59" creationId="{B18D210B-C8BE-4FCF-B830-88B5D73D0B6E}"/>
          </ac:picMkLst>
        </pc:picChg>
        <pc:picChg chg="add mod">
          <ac:chgData name="卫 岩" userId="6b4f6ed025dfef75" providerId="LiveId" clId="{53FCA9A4-4E24-41C3-8030-14A98E7F0782}" dt="2020-02-13T07:06:33.299" v="4039" actId="1076"/>
          <ac:picMkLst>
            <pc:docMk/>
            <pc:sldMk cId="4121983327" sldId="3135"/>
            <ac:picMk id="60" creationId="{327C828F-1466-484A-819B-0A0FCD14BFB2}"/>
          </ac:picMkLst>
        </pc:picChg>
        <pc:picChg chg="del">
          <ac:chgData name="卫 岩" userId="6b4f6ed025dfef75" providerId="LiveId" clId="{53FCA9A4-4E24-41C3-8030-14A98E7F0782}" dt="2020-02-13T06:12:22.370" v="3713" actId="478"/>
          <ac:picMkLst>
            <pc:docMk/>
            <pc:sldMk cId="4121983327" sldId="3135"/>
            <ac:picMk id="6146" creationId="{00045816-1D71-4FB5-8252-94CDD200B3C7}"/>
          </ac:picMkLst>
        </pc:picChg>
        <pc:cxnChg chg="add mod">
          <ac:chgData name="卫 岩" userId="6b4f6ed025dfef75" providerId="LiveId" clId="{53FCA9A4-4E24-41C3-8030-14A98E7F0782}" dt="2020-02-13T07:05:26.118" v="4037" actId="1076"/>
          <ac:cxnSpMkLst>
            <pc:docMk/>
            <pc:sldMk cId="4121983327" sldId="3135"/>
            <ac:cxnSpMk id="25" creationId="{6E621DEA-4F3E-4D90-944B-3350C9279246}"/>
          </ac:cxnSpMkLst>
        </pc:cxnChg>
        <pc:cxnChg chg="add del mod">
          <ac:chgData name="卫 岩" userId="6b4f6ed025dfef75" providerId="LiveId" clId="{53FCA9A4-4E24-41C3-8030-14A98E7F0782}" dt="2020-02-13T06:50:07.877" v="3880" actId="478"/>
          <ac:cxnSpMkLst>
            <pc:docMk/>
            <pc:sldMk cId="4121983327" sldId="3135"/>
            <ac:cxnSpMk id="26" creationId="{BC75884A-C4F2-498F-B5B9-6C716D17CD5E}"/>
          </ac:cxnSpMkLst>
        </pc:cxnChg>
        <pc:cxnChg chg="add del mod">
          <ac:chgData name="卫 岩" userId="6b4f6ed025dfef75" providerId="LiveId" clId="{53FCA9A4-4E24-41C3-8030-14A98E7F0782}" dt="2020-02-13T06:48:21.013" v="3868" actId="478"/>
          <ac:cxnSpMkLst>
            <pc:docMk/>
            <pc:sldMk cId="4121983327" sldId="3135"/>
            <ac:cxnSpMk id="32" creationId="{AC273FFE-2EC4-40DF-8A51-14CCC8342E39}"/>
          </ac:cxnSpMkLst>
        </pc:cxnChg>
        <pc:cxnChg chg="add mod">
          <ac:chgData name="卫 岩" userId="6b4f6ed025dfef75" providerId="LiveId" clId="{53FCA9A4-4E24-41C3-8030-14A98E7F0782}" dt="2020-02-13T06:58:46.260" v="4020" actId="13822"/>
          <ac:cxnSpMkLst>
            <pc:docMk/>
            <pc:sldMk cId="4121983327" sldId="3135"/>
            <ac:cxnSpMk id="34" creationId="{B17C3D73-A4EF-4F82-86DC-35B8C38D7D5B}"/>
          </ac:cxnSpMkLst>
        </pc:cxnChg>
        <pc:cxnChg chg="add mod">
          <ac:chgData name="卫 岩" userId="6b4f6ed025dfef75" providerId="LiveId" clId="{53FCA9A4-4E24-41C3-8030-14A98E7F0782}" dt="2020-02-13T06:58:46.260" v="4020" actId="13822"/>
          <ac:cxnSpMkLst>
            <pc:docMk/>
            <pc:sldMk cId="4121983327" sldId="3135"/>
            <ac:cxnSpMk id="36" creationId="{C0FAAA21-C79B-4041-9911-78D323D19A35}"/>
          </ac:cxnSpMkLst>
        </pc:cxnChg>
        <pc:cxnChg chg="add mod">
          <ac:chgData name="卫 岩" userId="6b4f6ed025dfef75" providerId="LiveId" clId="{53FCA9A4-4E24-41C3-8030-14A98E7F0782}" dt="2020-02-13T06:58:46.260" v="4020" actId="13822"/>
          <ac:cxnSpMkLst>
            <pc:docMk/>
            <pc:sldMk cId="4121983327" sldId="3135"/>
            <ac:cxnSpMk id="38" creationId="{81F15497-7E41-4E92-89BA-CE1C3BF55B94}"/>
          </ac:cxnSpMkLst>
        </pc:cxnChg>
        <pc:cxnChg chg="add mod">
          <ac:chgData name="卫 岩" userId="6b4f6ed025dfef75" providerId="LiveId" clId="{53FCA9A4-4E24-41C3-8030-14A98E7F0782}" dt="2020-02-13T06:58:46.260" v="4020" actId="13822"/>
          <ac:cxnSpMkLst>
            <pc:docMk/>
            <pc:sldMk cId="4121983327" sldId="3135"/>
            <ac:cxnSpMk id="40" creationId="{687A5960-1758-4223-9F97-7291FB82CC7D}"/>
          </ac:cxnSpMkLst>
        </pc:cxnChg>
        <pc:cxnChg chg="add mod">
          <ac:chgData name="卫 岩" userId="6b4f6ed025dfef75" providerId="LiveId" clId="{53FCA9A4-4E24-41C3-8030-14A98E7F0782}" dt="2020-02-13T06:58:46.260" v="4020" actId="13822"/>
          <ac:cxnSpMkLst>
            <pc:docMk/>
            <pc:sldMk cId="4121983327" sldId="3135"/>
            <ac:cxnSpMk id="42" creationId="{36552D6B-5A5F-450C-BC64-AD41D3838C94}"/>
          </ac:cxnSpMkLst>
        </pc:cxnChg>
        <pc:cxnChg chg="add mod">
          <ac:chgData name="卫 岩" userId="6b4f6ed025dfef75" providerId="LiveId" clId="{53FCA9A4-4E24-41C3-8030-14A98E7F0782}" dt="2020-02-13T06:58:46.260" v="4020" actId="13822"/>
          <ac:cxnSpMkLst>
            <pc:docMk/>
            <pc:sldMk cId="4121983327" sldId="3135"/>
            <ac:cxnSpMk id="46" creationId="{64D90CAB-3FF5-4E0A-9B07-74ABA339F899}"/>
          </ac:cxnSpMkLst>
        </pc:cxnChg>
        <pc:cxnChg chg="add del mod">
          <ac:chgData name="卫 岩" userId="6b4f6ed025dfef75" providerId="LiveId" clId="{53FCA9A4-4E24-41C3-8030-14A98E7F0782}" dt="2020-02-13T06:50:07.561" v="3879" actId="478"/>
          <ac:cxnSpMkLst>
            <pc:docMk/>
            <pc:sldMk cId="4121983327" sldId="3135"/>
            <ac:cxnSpMk id="48" creationId="{1C48F831-2349-4677-AFD3-A3257A1119C5}"/>
          </ac:cxnSpMkLst>
        </pc:cxnChg>
        <pc:cxnChg chg="add mod">
          <ac:chgData name="卫 岩" userId="6b4f6ed025dfef75" providerId="LiveId" clId="{53FCA9A4-4E24-41C3-8030-14A98E7F0782}" dt="2020-02-13T07:05:26.118" v="4037" actId="1076"/>
          <ac:cxnSpMkLst>
            <pc:docMk/>
            <pc:sldMk cId="4121983327" sldId="3135"/>
            <ac:cxnSpMk id="50" creationId="{2B12902E-A69D-44A5-A811-D617B18329AD}"/>
          </ac:cxnSpMkLst>
        </pc:cxnChg>
      </pc:sldChg>
      <pc:sldChg chg="addSp delSp modSp add">
        <pc:chgData name="卫 岩" userId="6b4f6ed025dfef75" providerId="LiveId" clId="{53FCA9A4-4E24-41C3-8030-14A98E7F0782}" dt="2020-02-13T07:28:28.379" v="4477"/>
        <pc:sldMkLst>
          <pc:docMk/>
          <pc:sldMk cId="3038845623" sldId="3136"/>
        </pc:sldMkLst>
        <pc:spChg chg="mod">
          <ac:chgData name="卫 岩" userId="6b4f6ed025dfef75" providerId="LiveId" clId="{53FCA9A4-4E24-41C3-8030-14A98E7F0782}" dt="2020-02-13T07:09:35.661" v="4052"/>
          <ac:spMkLst>
            <pc:docMk/>
            <pc:sldMk cId="3038845623" sldId="3136"/>
            <ac:spMk id="5" creationId="{00000000-0000-0000-0000-000000000000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16" creationId="{6552AF0D-DD1B-4713-9265-733E80EF034D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18" creationId="{D9A69F91-88C5-4F88-A9F7-CF930D4EA69C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19" creationId="{212AE1CF-2B80-4A5F-B475-F4CD1AEF206E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20" creationId="{4DA747AA-D052-4143-84CA-5EFD336D1DB8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21" creationId="{0F1E0B2E-B478-4A14-9FB1-12C5F4170D9D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22" creationId="{70473A33-E43B-486C-8778-0E7E50653E07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23" creationId="{3FA4DE98-45F5-424F-98BB-3A1061BCFE34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29" creationId="{180C0554-8B23-4FE5-B21A-0B0C223590C6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30" creationId="{89A60376-4987-45D7-8D9C-CB2CF570E115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32" creationId="{C437E578-B4F7-4440-AA8F-4EDA7986FD29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33" creationId="{D7F3B788-5B7A-4CEE-B658-D138B81EFD6E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37" creationId="{605CD551-AFBA-416C-97A8-8FAFDE117E68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41" creationId="{C9BECFDE-ACE3-4967-BAF1-FB5A80D1D44E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44" creationId="{D5952CFD-59E5-433A-9361-C1F9B25FAEE5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45" creationId="{AD2AE571-3EAC-4C92-B4B2-9FD26F679643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47" creationId="{9CC1AF25-E383-49D0-9482-683FA4216FC3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48" creationId="{C4441EA7-D8EA-4059-BEAC-F5A50FA05866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51" creationId="{05B05112-8392-42AC-972B-F8E217ED8E35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53" creationId="{78CE557B-D585-4D8B-94FE-441AE5B57618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59" creationId="{20F01F2F-56F2-4F84-83FF-0230DEFCE3A0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62" creationId="{EA565C1E-554F-4871-ADC5-DB6C88831C7B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65" creationId="{ED5AF2B9-2D2A-49BA-9517-096C9D0B0A30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67" creationId="{3FD11AD5-781C-4BB4-B5DC-04C4D6A6C5B6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68" creationId="{495570A8-2AFE-4DF3-9EDB-279EA5C09A0B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70" creationId="{1BEC940D-8D14-44EE-B3DB-F527FAC9C4EA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73" creationId="{FA3E295C-0FFE-4DB4-B2C0-69C738DDFB9A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75" creationId="{E1F24F8A-9AFF-4C5C-9390-31D0E13D280B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76" creationId="{E6295641-74E0-4640-BE12-BBC900070E93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77" creationId="{A5DFCEBB-7007-4A34-A4B0-539095FA1DB9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78" creationId="{0554BB48-9D7A-4BF4-BBE5-CCD3DC0ED0CC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90" creationId="{929771C7-D8EE-428A-9BDB-DA4761B6A311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91" creationId="{DD2BE84B-5CE8-4C05-AE43-4D7885145DCA}"/>
          </ac:spMkLst>
        </pc:spChg>
        <pc:spChg chg="add del">
          <ac:chgData name="卫 岩" userId="6b4f6ed025dfef75" providerId="LiveId" clId="{53FCA9A4-4E24-41C3-8030-14A98E7F0782}" dt="2020-02-13T07:10:14.672" v="4054"/>
          <ac:spMkLst>
            <pc:docMk/>
            <pc:sldMk cId="3038845623" sldId="3136"/>
            <ac:spMk id="92" creationId="{406E773C-37EB-42F2-B87F-30F7CA1730DB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93" creationId="{5B08A37A-E11A-4A89-8F52-01A23CA9B0E1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94" creationId="{40DCE127-6863-4B28-A072-8FC90E95B982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96" creationId="{07C07A77-1A3F-41F6-B292-84E80696CACF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97" creationId="{31FBC445-B4D4-427C-B3C1-F93DEC73185A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99" creationId="{125EC796-AD70-4486-957A-CEF196FE03FB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01" creationId="{3C7BCCFC-77FC-428B-8989-904B92B105CA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03" creationId="{3443E05C-D7A1-47F3-BD81-193C73824344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04" creationId="{859AF9BC-F490-4A68-8D24-9395D10EB414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05" creationId="{BDBE017F-D11E-4E9C-A2A5-C844A10340A5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06" creationId="{BE981034-40EF-4C5B-A6E8-7E3403A92826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08" creationId="{DF599026-52F2-4B4D-A21F-B32D418C066D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109" creationId="{6CD779C3-57C3-478E-85A7-BB23FEBB2865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110" creationId="{9FC072F3-96C3-415E-9C10-42067700D83F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12" creationId="{FC068BB7-52B4-4BE4-A88D-0E6C28C3AB9C}"/>
          </ac:spMkLst>
        </pc:spChg>
        <pc:spChg chg="add del mod">
          <ac:chgData name="卫 岩" userId="6b4f6ed025dfef75" providerId="LiveId" clId="{53FCA9A4-4E24-41C3-8030-14A98E7F0782}" dt="2020-02-13T07:18:38.382" v="4210" actId="478"/>
          <ac:spMkLst>
            <pc:docMk/>
            <pc:sldMk cId="3038845623" sldId="3136"/>
            <ac:spMk id="115" creationId="{BB6D4CD5-5420-4123-B4EC-A386B6C7182B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117" creationId="{CF1CC6D8-EDD3-4F95-9122-DE739FE2F641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118" creationId="{82B48E11-CC8C-4A04-9204-0868A2152009}"/>
          </ac:spMkLst>
        </pc:spChg>
        <pc:spChg chg="add del mod">
          <ac:chgData name="卫 岩" userId="6b4f6ed025dfef75" providerId="LiveId" clId="{53FCA9A4-4E24-41C3-8030-14A98E7F0782}" dt="2020-02-13T07:22:48.234" v="4378" actId="478"/>
          <ac:spMkLst>
            <pc:docMk/>
            <pc:sldMk cId="3038845623" sldId="3136"/>
            <ac:spMk id="120" creationId="{F1F7CA29-2007-4389-8ACC-ECDD36A1A9FD}"/>
          </ac:spMkLst>
        </pc:spChg>
        <pc:spChg chg="add del mod">
          <ac:chgData name="卫 岩" userId="6b4f6ed025dfef75" providerId="LiveId" clId="{53FCA9A4-4E24-41C3-8030-14A98E7F0782}" dt="2020-02-13T07:18:39.329" v="4211" actId="478"/>
          <ac:spMkLst>
            <pc:docMk/>
            <pc:sldMk cId="3038845623" sldId="3136"/>
            <ac:spMk id="123" creationId="{C4E901E1-C6E3-4381-BD81-1439C0F97A81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25" creationId="{71DBCE63-019F-4EE3-B883-65F86EA935FA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37" creationId="{36AF73EE-D6D3-4E70-B136-2887EDE2EE56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38" creationId="{8E2FB74B-8EDC-4FDA-8F4B-C723864A57E7}"/>
          </ac:spMkLst>
        </pc:spChg>
        <pc:spChg chg="add del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39" creationId="{F63F6227-7402-4553-B8AE-A095BD48A311}"/>
          </ac:spMkLst>
        </pc:spChg>
        <pc:spChg chg="add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68" creationId="{CA0C1870-3CB8-4136-BB60-0844EE72DB6E}"/>
          </ac:spMkLst>
        </pc:spChg>
        <pc:spChg chg="add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70" creationId="{9990DD57-ABB1-4E8B-9EBF-766DBC298DFF}"/>
          </ac:spMkLst>
        </pc:spChg>
        <pc:spChg chg="add mod">
          <ac:chgData name="卫 岩" userId="6b4f6ed025dfef75" providerId="LiveId" clId="{53FCA9A4-4E24-41C3-8030-14A98E7F0782}" dt="2020-02-13T07:26:07.632" v="4429" actId="1076"/>
          <ac:spMkLst>
            <pc:docMk/>
            <pc:sldMk cId="3038845623" sldId="3136"/>
            <ac:spMk id="178" creationId="{146BA7DC-EDF5-4A77-91A8-552C13AF6367}"/>
          </ac:spMkLst>
        </pc:spChg>
        <pc:spChg chg="add mod">
          <ac:chgData name="卫 岩" userId="6b4f6ed025dfef75" providerId="LiveId" clId="{53FCA9A4-4E24-41C3-8030-14A98E7F0782}" dt="2020-02-13T07:28:23.968" v="4476"/>
          <ac:spMkLst>
            <pc:docMk/>
            <pc:sldMk cId="3038845623" sldId="3136"/>
            <ac:spMk id="191" creationId="{7773A646-C4E9-41C4-9B30-18E0C9B78888}"/>
          </ac:spMkLst>
        </pc:spChg>
        <pc:spChg chg="add mod">
          <ac:chgData name="卫 岩" userId="6b4f6ed025dfef75" providerId="LiveId" clId="{53FCA9A4-4E24-41C3-8030-14A98E7F0782}" dt="2020-02-13T07:28:28.379" v="4477"/>
          <ac:spMkLst>
            <pc:docMk/>
            <pc:sldMk cId="3038845623" sldId="3136"/>
            <ac:spMk id="192" creationId="{8A102A2C-6135-46CE-8C5F-08461542F299}"/>
          </ac:spMkLst>
        </pc:spChg>
        <pc:spChg chg="del">
          <ac:chgData name="卫 岩" userId="6b4f6ed025dfef75" providerId="LiveId" clId="{53FCA9A4-4E24-41C3-8030-14A98E7F0782}" dt="2020-02-13T07:08:15.803" v="4046" actId="478"/>
          <ac:spMkLst>
            <pc:docMk/>
            <pc:sldMk cId="3038845623" sldId="3136"/>
            <ac:spMk id="6154" creationId="{A095CAB2-5E7B-4D33-AEA6-B9F51C62BD11}"/>
          </ac:spMkLst>
        </pc:sp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31" creationId="{2EDA5CCF-2476-46B3-8492-17C3DF954ADF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35" creationId="{AE2A6E0B-9CEE-4626-A8D1-279D1DF5F352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39" creationId="{2451490A-5E84-4B8B-BC9C-62638E5DFC5A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49" creationId="{D17776BA-508C-496E-8941-0CC5301C4F53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52" creationId="{46B13345-DBAD-48B1-B753-76792A45B081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54" creationId="{C29C7F62-9718-4289-8C53-8E5CE319D94C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55" creationId="{26F3B591-EACC-4F7E-80BA-143F0954EEF0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56" creationId="{A209D476-9563-4D7F-BC71-ED2B38DDDC74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57" creationId="{C17C6539-1B8C-4563-9550-C0E342F0DF8A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58" creationId="{BB88D04A-FFCB-42EE-A54B-C28AF39BB209}"/>
          </ac:picMkLst>
        </pc:picChg>
        <pc:picChg chg="del">
          <ac:chgData name="卫 岩" userId="6b4f6ed025dfef75" providerId="LiveId" clId="{53FCA9A4-4E24-41C3-8030-14A98E7F0782}" dt="2020-02-13T07:08:15.803" v="4046" actId="478"/>
          <ac:picMkLst>
            <pc:docMk/>
            <pc:sldMk cId="3038845623" sldId="3136"/>
            <ac:picMk id="60" creationId="{327C828F-1466-484A-819B-0A0FCD14BFB2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61" creationId="{CF894B43-6616-4DDD-9AB4-25A5F1E9497E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63" creationId="{DCCFAAF6-32AF-44A5-A989-58D0DBCD7201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64" creationId="{8A8B9D99-6A54-41A1-B3B5-81FDCA67C024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69" creationId="{91E448A0-8F57-4969-AC70-F461CC7F4477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71" creationId="{4B35F115-92ED-468A-88DA-AEA605F4053C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72" creationId="{3D273682-8624-4C79-9FC7-40788C65A9E8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2" creationId="{ABD8C2C5-220C-4B88-8B00-20B43B713944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3" creationId="{E52A5395-F5EB-44D3-8D27-D6151F8B3E17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4" creationId="{B2798B0E-065F-44C5-A584-CC731D183989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5" creationId="{7829B24F-E018-4CA4-AEA0-A8417D1E26CC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6" creationId="{0C171644-C2A7-4BBB-AB1A-5D4B52AD53D5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7" creationId="{12D7427B-F253-40C4-AA19-C6DBC2655AA8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8" creationId="{388E1FAE-484C-4004-9872-60BBF0CB8F5C}"/>
          </ac:picMkLst>
        </pc:picChg>
        <pc:picChg chg="add del">
          <ac:chgData name="卫 岩" userId="6b4f6ed025dfef75" providerId="LiveId" clId="{53FCA9A4-4E24-41C3-8030-14A98E7F0782}" dt="2020-02-13T07:10:14.672" v="4054"/>
          <ac:picMkLst>
            <pc:docMk/>
            <pc:sldMk cId="3038845623" sldId="3136"/>
            <ac:picMk id="89" creationId="{F06C2F82-9DD4-4884-ACD9-1E42B0450BB4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95" creationId="{2D36B69A-009D-4F0F-8456-8183E7CA1377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98" creationId="{E3C5AA9E-B416-4B79-9F36-E6DC022483A8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00" creationId="{A49E4257-74B2-4ACB-8E93-06AA8EFAF3D2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07" creationId="{D6ED1E5D-6B05-4CC8-B021-9DCD2B805BBF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11" creationId="{35F428F0-2ADD-4021-BD3A-E96F4C53E419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13" creationId="{081D5E8B-3124-4F27-9DF0-F20A6475126A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14" creationId="{61C57B3E-2ABE-41C7-B619-728A4D8D6935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19" creationId="{89CC24CC-B2AB-4C0B-B356-BCD398886182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21" creationId="{731EAFD6-DA3D-4D46-826C-2B63D03AF7E2}"/>
          </ac:picMkLst>
        </pc:picChg>
        <pc:picChg chg="add del mod">
          <ac:chgData name="卫 岩" userId="6b4f6ed025dfef75" providerId="LiveId" clId="{53FCA9A4-4E24-41C3-8030-14A98E7F0782}" dt="2020-02-13T07:22:48.234" v="4378" actId="478"/>
          <ac:picMkLst>
            <pc:docMk/>
            <pc:sldMk cId="3038845623" sldId="3136"/>
            <ac:picMk id="122" creationId="{F2B1E8DD-4453-4D64-AF01-A9F70AA15418}"/>
          </ac:picMkLst>
        </pc:picChg>
        <pc:picChg chg="add del mod">
          <ac:chgData name="卫 岩" userId="6b4f6ed025dfef75" providerId="LiveId" clId="{53FCA9A4-4E24-41C3-8030-14A98E7F0782}" dt="2020-02-13T07:18:39.329" v="4211" actId="478"/>
          <ac:picMkLst>
            <pc:docMk/>
            <pc:sldMk cId="3038845623" sldId="3136"/>
            <ac:picMk id="129" creationId="{64787E6A-8588-47C2-8FD3-C2272364284F}"/>
          </ac:picMkLst>
        </pc:picChg>
        <pc:picChg chg="add del mod">
          <ac:chgData name="卫 岩" userId="6b4f6ed025dfef75" providerId="LiveId" clId="{53FCA9A4-4E24-41C3-8030-14A98E7F0782}" dt="2020-02-13T07:18:38.382" v="4210" actId="478"/>
          <ac:picMkLst>
            <pc:docMk/>
            <pc:sldMk cId="3038845623" sldId="3136"/>
            <ac:picMk id="130" creationId="{95875D8A-A7A8-48AE-B562-2909246052E3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31" creationId="{C6FB35ED-23DC-4F10-8240-D65AD9EBF3F0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32" creationId="{BCE49C26-D642-405A-80F1-63974ACA00A4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33" creationId="{FB4E5955-EA01-4A5E-9EEE-A88129973D2B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34" creationId="{6DEE1986-1E00-45AE-9705-517DD696ED34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35" creationId="{6B638B5C-840E-42ED-A49D-EF473C761CC0}"/>
          </ac:picMkLst>
        </pc:picChg>
        <pc:picChg chg="add del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36" creationId="{698A951B-8ED4-4201-8931-40689D816DEB}"/>
          </ac:picMkLst>
        </pc:picChg>
        <pc:picChg chg="add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69" creationId="{ABC6F2B8-46A0-4CE8-90F9-72981A0712D2}"/>
          </ac:picMkLst>
        </pc:picChg>
        <pc:picChg chg="add mod">
          <ac:chgData name="卫 岩" userId="6b4f6ed025dfef75" providerId="LiveId" clId="{53FCA9A4-4E24-41C3-8030-14A98E7F0782}" dt="2020-02-13T07:26:07.632" v="4429" actId="1076"/>
          <ac:picMkLst>
            <pc:docMk/>
            <pc:sldMk cId="3038845623" sldId="3136"/>
            <ac:picMk id="171" creationId="{F950D728-33EC-4DC7-9DCB-ED4C703F71F9}"/>
          </ac:picMkLst>
        </pc:pic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25" creationId="{6E621DEA-4F3E-4D90-944B-3350C9279246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34" creationId="{B17C3D73-A4EF-4F82-86DC-35B8C38D7D5B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36" creationId="{C0FAAA21-C79B-4041-9911-78D323D19A35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38" creationId="{81F15497-7E41-4E92-89BA-CE1C3BF55B94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40" creationId="{687A5960-1758-4223-9F97-7291FB82CC7D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42" creationId="{36552D6B-5A5F-450C-BC64-AD41D3838C94}"/>
          </ac:cxnSpMkLst>
        </pc:cxnChg>
        <pc:cxnChg chg="add del">
          <ac:chgData name="卫 岩" userId="6b4f6ed025dfef75" providerId="LiveId" clId="{53FCA9A4-4E24-41C3-8030-14A98E7F0782}" dt="2020-02-13T07:10:14.672" v="4054"/>
          <ac:cxnSpMkLst>
            <pc:docMk/>
            <pc:sldMk cId="3038845623" sldId="3136"/>
            <ac:cxnSpMk id="43" creationId="{3B4AE389-6C42-4610-AFA2-CE167253851F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46" creationId="{64D90CAB-3FF5-4E0A-9B07-74ABA339F899}"/>
          </ac:cxnSpMkLst>
        </pc:cxnChg>
        <pc:cxnChg chg="del">
          <ac:chgData name="卫 岩" userId="6b4f6ed025dfef75" providerId="LiveId" clId="{53FCA9A4-4E24-41C3-8030-14A98E7F0782}" dt="2020-02-13T07:08:15.803" v="4046" actId="478"/>
          <ac:cxnSpMkLst>
            <pc:docMk/>
            <pc:sldMk cId="3038845623" sldId="3136"/>
            <ac:cxnSpMk id="50" creationId="{2B12902E-A69D-44A5-A811-D617B18329AD}"/>
          </ac:cxnSpMkLst>
        </pc:cxnChg>
        <pc:cxnChg chg="add del">
          <ac:chgData name="卫 岩" userId="6b4f6ed025dfef75" providerId="LiveId" clId="{53FCA9A4-4E24-41C3-8030-14A98E7F0782}" dt="2020-02-13T07:10:14.672" v="4054"/>
          <ac:cxnSpMkLst>
            <pc:docMk/>
            <pc:sldMk cId="3038845623" sldId="3136"/>
            <ac:cxnSpMk id="66" creationId="{F547B044-8D20-4E98-9612-3A70F0559F91}"/>
          </ac:cxnSpMkLst>
        </pc:cxnChg>
        <pc:cxnChg chg="add del">
          <ac:chgData name="卫 岩" userId="6b4f6ed025dfef75" providerId="LiveId" clId="{53FCA9A4-4E24-41C3-8030-14A98E7F0782}" dt="2020-02-13T07:10:14.672" v="4054"/>
          <ac:cxnSpMkLst>
            <pc:docMk/>
            <pc:sldMk cId="3038845623" sldId="3136"/>
            <ac:cxnSpMk id="74" creationId="{CE98A43E-0F61-4838-AC6F-A359FB078303}"/>
          </ac:cxnSpMkLst>
        </pc:cxnChg>
        <pc:cxnChg chg="add del">
          <ac:chgData name="卫 岩" userId="6b4f6ed025dfef75" providerId="LiveId" clId="{53FCA9A4-4E24-41C3-8030-14A98E7F0782}" dt="2020-02-13T07:10:14.672" v="4054"/>
          <ac:cxnSpMkLst>
            <pc:docMk/>
            <pc:sldMk cId="3038845623" sldId="3136"/>
            <ac:cxnSpMk id="79" creationId="{6DC7377E-9ADC-4060-A0EA-F2B38CED767E}"/>
          </ac:cxnSpMkLst>
        </pc:cxnChg>
        <pc:cxnChg chg="add del">
          <ac:chgData name="卫 岩" userId="6b4f6ed025dfef75" providerId="LiveId" clId="{53FCA9A4-4E24-41C3-8030-14A98E7F0782}" dt="2020-02-13T07:10:14.672" v="4054"/>
          <ac:cxnSpMkLst>
            <pc:docMk/>
            <pc:sldMk cId="3038845623" sldId="3136"/>
            <ac:cxnSpMk id="80" creationId="{BD980C8E-872C-47F6-9DB9-8FF2675E8CCC}"/>
          </ac:cxnSpMkLst>
        </pc:cxnChg>
        <pc:cxnChg chg="add del">
          <ac:chgData name="卫 岩" userId="6b4f6ed025dfef75" providerId="LiveId" clId="{53FCA9A4-4E24-41C3-8030-14A98E7F0782}" dt="2020-02-13T07:10:14.672" v="4054"/>
          <ac:cxnSpMkLst>
            <pc:docMk/>
            <pc:sldMk cId="3038845623" sldId="3136"/>
            <ac:cxnSpMk id="81" creationId="{C7054034-7CE3-452C-8A4F-4236D9627F70}"/>
          </ac:cxnSpMkLst>
        </pc:cxnChg>
        <pc:cxnChg chg="add del mod">
          <ac:chgData name="卫 岩" userId="6b4f6ed025dfef75" providerId="LiveId" clId="{53FCA9A4-4E24-41C3-8030-14A98E7F0782}" dt="2020-02-13T07:26:07.632" v="4429" actId="1076"/>
          <ac:cxnSpMkLst>
            <pc:docMk/>
            <pc:sldMk cId="3038845623" sldId="3136"/>
            <ac:cxnSpMk id="102" creationId="{8006FD80-E214-4769-A0DC-3A2E2325067F}"/>
          </ac:cxnSpMkLst>
        </pc:cxnChg>
        <pc:cxnChg chg="add del mod">
          <ac:chgData name="卫 岩" userId="6b4f6ed025dfef75" providerId="LiveId" clId="{53FCA9A4-4E24-41C3-8030-14A98E7F0782}" dt="2020-02-13T07:18:38.382" v="4210" actId="478"/>
          <ac:cxnSpMkLst>
            <pc:docMk/>
            <pc:sldMk cId="3038845623" sldId="3136"/>
            <ac:cxnSpMk id="116" creationId="{97274B89-857B-4797-9B73-D2D9361CA682}"/>
          </ac:cxnSpMkLst>
        </pc:cxnChg>
        <pc:cxnChg chg="add del mod">
          <ac:chgData name="卫 岩" userId="6b4f6ed025dfef75" providerId="LiveId" clId="{53FCA9A4-4E24-41C3-8030-14A98E7F0782}" dt="2020-02-13T07:18:39.329" v="4211" actId="478"/>
          <ac:cxnSpMkLst>
            <pc:docMk/>
            <pc:sldMk cId="3038845623" sldId="3136"/>
            <ac:cxnSpMk id="124" creationId="{34675A5D-66A4-4983-9147-911AA4093AE2}"/>
          </ac:cxnSpMkLst>
        </pc:cxnChg>
        <pc:cxnChg chg="add del mod">
          <ac:chgData name="卫 岩" userId="6b4f6ed025dfef75" providerId="LiveId" clId="{53FCA9A4-4E24-41C3-8030-14A98E7F0782}" dt="2020-02-13T07:26:07.632" v="4429" actId="1076"/>
          <ac:cxnSpMkLst>
            <pc:docMk/>
            <pc:sldMk cId="3038845623" sldId="3136"/>
            <ac:cxnSpMk id="126" creationId="{B72FECB9-B57C-439C-BB07-62FEE7DE9E47}"/>
          </ac:cxnSpMkLst>
        </pc:cxnChg>
        <pc:cxnChg chg="add del mod">
          <ac:chgData name="卫 岩" userId="6b4f6ed025dfef75" providerId="LiveId" clId="{53FCA9A4-4E24-41C3-8030-14A98E7F0782}" dt="2020-02-13T07:26:07.632" v="4429" actId="1076"/>
          <ac:cxnSpMkLst>
            <pc:docMk/>
            <pc:sldMk cId="3038845623" sldId="3136"/>
            <ac:cxnSpMk id="127" creationId="{0B37C746-DD65-4C60-8656-EA7C448ACF64}"/>
          </ac:cxnSpMkLst>
        </pc:cxnChg>
        <pc:cxnChg chg="add del mod">
          <ac:chgData name="卫 岩" userId="6b4f6ed025dfef75" providerId="LiveId" clId="{53FCA9A4-4E24-41C3-8030-14A98E7F0782}" dt="2020-02-13T07:26:07.632" v="4429" actId="1076"/>
          <ac:cxnSpMkLst>
            <pc:docMk/>
            <pc:sldMk cId="3038845623" sldId="3136"/>
            <ac:cxnSpMk id="128" creationId="{28DEEB3D-0D7C-48A2-A834-AAFC923703F9}"/>
          </ac:cxnSpMkLst>
        </pc:cxnChg>
        <pc:cxnChg chg="add mod">
          <ac:chgData name="卫 岩" userId="6b4f6ed025dfef75" providerId="LiveId" clId="{53FCA9A4-4E24-41C3-8030-14A98E7F0782}" dt="2020-02-13T07:26:07.632" v="4429" actId="1076"/>
          <ac:cxnSpMkLst>
            <pc:docMk/>
            <pc:sldMk cId="3038845623" sldId="3136"/>
            <ac:cxnSpMk id="179" creationId="{FCEB7A07-3315-41C1-887A-795C09B60F3D}"/>
          </ac:cxnSpMkLst>
        </pc:cxnChg>
        <pc:cxnChg chg="add mod">
          <ac:chgData name="卫 岩" userId="6b4f6ed025dfef75" providerId="LiveId" clId="{53FCA9A4-4E24-41C3-8030-14A98E7F0782}" dt="2020-02-13T07:26:07.632" v="4429" actId="1076"/>
          <ac:cxnSpMkLst>
            <pc:docMk/>
            <pc:sldMk cId="3038845623" sldId="3136"/>
            <ac:cxnSpMk id="184" creationId="{DCA17019-F175-4CFD-8663-401F31F6D2C6}"/>
          </ac:cxnSpMkLst>
        </pc:cxnChg>
      </pc:sldChg>
    </pc:docChg>
  </pc:docChgLst>
  <pc:docChgLst>
    <pc:chgData name="卫 岩" userId="6b4f6ed025dfef75" providerId="LiveId" clId="{FEE1A4BA-1032-4F94-B5EB-21E0C28A8421}"/>
    <pc:docChg chg="undo custSel delSld modSld">
      <pc:chgData name="卫 岩" userId="6b4f6ed025dfef75" providerId="LiveId" clId="{FEE1A4BA-1032-4F94-B5EB-21E0C28A8421}" dt="2020-04-10T14:08:49.406" v="241"/>
      <pc:docMkLst>
        <pc:docMk/>
      </pc:docMkLst>
      <pc:sldChg chg="addSp delSp modSp mod">
        <pc:chgData name="卫 岩" userId="6b4f6ed025dfef75" providerId="LiveId" clId="{FEE1A4BA-1032-4F94-B5EB-21E0C28A8421}" dt="2020-04-10T14:08:49.406" v="241"/>
        <pc:sldMkLst>
          <pc:docMk/>
          <pc:sldMk cId="1609482380" sldId="3142"/>
        </pc:sldMkLst>
        <pc:graphicFrameChg chg="mod">
          <ac:chgData name="卫 岩" userId="6b4f6ed025dfef75" providerId="LiveId" clId="{FEE1A4BA-1032-4F94-B5EB-21E0C28A8421}" dt="2020-04-10T14:08:49.406" v="241"/>
          <ac:graphicFrameMkLst>
            <pc:docMk/>
            <pc:sldMk cId="1609482380" sldId="3142"/>
            <ac:graphicFrameMk id="3" creationId="{A9725EAD-4FC8-4EAE-9AB5-510EC46E993A}"/>
          </ac:graphicFrameMkLst>
        </pc:graphicFrameChg>
        <pc:picChg chg="add mod">
          <ac:chgData name="卫 岩" userId="6b4f6ed025dfef75" providerId="LiveId" clId="{FEE1A4BA-1032-4F94-B5EB-21E0C28A8421}" dt="2020-04-10T13:59:06.199" v="139" actId="1076"/>
          <ac:picMkLst>
            <pc:docMk/>
            <pc:sldMk cId="1609482380" sldId="3142"/>
            <ac:picMk id="4" creationId="{86607155-FE7D-4E27-A4E2-92A742D7CA09}"/>
          </ac:picMkLst>
        </pc:picChg>
        <pc:picChg chg="add mod">
          <ac:chgData name="卫 岩" userId="6b4f6ed025dfef75" providerId="LiveId" clId="{FEE1A4BA-1032-4F94-B5EB-21E0C28A8421}" dt="2020-04-10T13:59:13.414" v="141" actId="1076"/>
          <ac:picMkLst>
            <pc:docMk/>
            <pc:sldMk cId="1609482380" sldId="3142"/>
            <ac:picMk id="5" creationId="{91667110-EE3B-40EB-9B94-429063261B66}"/>
          </ac:picMkLst>
        </pc:picChg>
        <pc:picChg chg="add mod">
          <ac:chgData name="卫 岩" userId="6b4f6ed025dfef75" providerId="LiveId" clId="{FEE1A4BA-1032-4F94-B5EB-21E0C28A8421}" dt="2020-04-10T13:59:23.624" v="143" actId="1076"/>
          <ac:picMkLst>
            <pc:docMk/>
            <pc:sldMk cId="1609482380" sldId="3142"/>
            <ac:picMk id="6" creationId="{A6AB486A-0EBF-4B2F-8752-BF9CCE0758F3}"/>
          </ac:picMkLst>
        </pc:picChg>
        <pc:picChg chg="add mod">
          <ac:chgData name="卫 岩" userId="6b4f6ed025dfef75" providerId="LiveId" clId="{FEE1A4BA-1032-4F94-B5EB-21E0C28A8421}" dt="2020-04-10T13:59:31.861" v="145" actId="1076"/>
          <ac:picMkLst>
            <pc:docMk/>
            <pc:sldMk cId="1609482380" sldId="3142"/>
            <ac:picMk id="7" creationId="{FA956849-9928-4444-AFB2-F05A5359015C}"/>
          </ac:picMkLst>
        </pc:picChg>
        <pc:picChg chg="del">
          <ac:chgData name="卫 岩" userId="6b4f6ed025dfef75" providerId="LiveId" clId="{FEE1A4BA-1032-4F94-B5EB-21E0C28A8421}" dt="2020-04-10T13:48:11.888" v="0" actId="478"/>
          <ac:picMkLst>
            <pc:docMk/>
            <pc:sldMk cId="1609482380" sldId="3142"/>
            <ac:picMk id="5122" creationId="{4A87E8F1-DA06-4683-A783-D74F112792FA}"/>
          </ac:picMkLst>
        </pc:picChg>
      </pc:sldChg>
      <pc:sldChg chg="delSp modSp del mod">
        <pc:chgData name="卫 岩" userId="6b4f6ed025dfef75" providerId="LiveId" clId="{FEE1A4BA-1032-4F94-B5EB-21E0C28A8421}" dt="2020-04-10T14:00:12.383" v="163" actId="47"/>
        <pc:sldMkLst>
          <pc:docMk/>
          <pc:sldMk cId="1523176858" sldId="3143"/>
        </pc:sldMkLst>
        <pc:graphicFrameChg chg="del">
          <ac:chgData name="卫 岩" userId="6b4f6ed025dfef75" providerId="LiveId" clId="{FEE1A4BA-1032-4F94-B5EB-21E0C28A8421}" dt="2020-04-10T14:00:09.082" v="162" actId="478"/>
          <ac:graphicFrameMkLst>
            <pc:docMk/>
            <pc:sldMk cId="1523176858" sldId="3143"/>
            <ac:graphicFrameMk id="2" creationId="{FA65E3BA-4B4A-4167-AD08-D543E0017443}"/>
          </ac:graphicFrameMkLst>
        </pc:graphicFrameChg>
        <pc:picChg chg="mod">
          <ac:chgData name="卫 岩" userId="6b4f6ed025dfef75" providerId="LiveId" clId="{FEE1A4BA-1032-4F94-B5EB-21E0C28A8421}" dt="2020-04-10T13:58:49.650" v="136" actId="1076"/>
          <ac:picMkLst>
            <pc:docMk/>
            <pc:sldMk cId="1523176858" sldId="3143"/>
            <ac:picMk id="2050" creationId="{527A4471-3975-47FA-BE07-B7B228F456D8}"/>
          </ac:picMkLst>
        </pc:picChg>
      </pc:sldChg>
      <pc:sldChg chg="modSp modNotesTx">
        <pc:chgData name="卫 岩" userId="6b4f6ed025dfef75" providerId="LiveId" clId="{FEE1A4BA-1032-4F94-B5EB-21E0C28A8421}" dt="2020-04-10T14:06:54.626" v="224" actId="20577"/>
        <pc:sldMkLst>
          <pc:docMk/>
          <pc:sldMk cId="170610776" sldId="3144"/>
        </pc:sldMkLst>
        <pc:graphicFrameChg chg="mod">
          <ac:chgData name="卫 岩" userId="6b4f6ed025dfef75" providerId="LiveId" clId="{FEE1A4BA-1032-4F94-B5EB-21E0C28A8421}" dt="2020-04-10T13:49:33.982" v="31" actId="403"/>
          <ac:graphicFrameMkLst>
            <pc:docMk/>
            <pc:sldMk cId="170610776" sldId="3144"/>
            <ac:graphicFrameMk id="6" creationId="{798020F2-04FE-41FE-BB79-E242DE60B86B}"/>
          </ac:graphicFrameMkLst>
        </pc:graphicFrameChg>
      </pc:sldChg>
      <pc:sldChg chg="modSp mod">
        <pc:chgData name="卫 岩" userId="6b4f6ed025dfef75" providerId="LiveId" clId="{FEE1A4BA-1032-4F94-B5EB-21E0C28A8421}" dt="2020-04-10T13:53:21.195" v="64" actId="1076"/>
        <pc:sldMkLst>
          <pc:docMk/>
          <pc:sldMk cId="3948195477" sldId="3145"/>
        </pc:sldMkLst>
        <pc:spChg chg="mod">
          <ac:chgData name="卫 岩" userId="6b4f6ed025dfef75" providerId="LiveId" clId="{FEE1A4BA-1032-4F94-B5EB-21E0C28A8421}" dt="2020-04-10T13:53:21.195" v="64" actId="1076"/>
          <ac:spMkLst>
            <pc:docMk/>
            <pc:sldMk cId="3948195477" sldId="3145"/>
            <ac:spMk id="4" creationId="{975F990C-2668-49C3-97C1-DD900ED05166}"/>
          </ac:spMkLst>
        </pc:spChg>
        <pc:picChg chg="mod">
          <ac:chgData name="卫 岩" userId="6b4f6ed025dfef75" providerId="LiveId" clId="{FEE1A4BA-1032-4F94-B5EB-21E0C28A8421}" dt="2020-04-10T13:53:16.317" v="63" actId="1076"/>
          <ac:picMkLst>
            <pc:docMk/>
            <pc:sldMk cId="3948195477" sldId="3145"/>
            <ac:picMk id="3" creationId="{D5778977-F9E0-440B-AFD2-A6509BDD2ADC}"/>
          </ac:picMkLst>
        </pc:picChg>
      </pc:sldChg>
      <pc:sldChg chg="modSp mod">
        <pc:chgData name="卫 岩" userId="6b4f6ed025dfef75" providerId="LiveId" clId="{FEE1A4BA-1032-4F94-B5EB-21E0C28A8421}" dt="2020-04-10T13:53:30.408" v="65" actId="403"/>
        <pc:sldMkLst>
          <pc:docMk/>
          <pc:sldMk cId="1056215782" sldId="3146"/>
        </pc:sldMkLst>
        <pc:spChg chg="mod">
          <ac:chgData name="卫 岩" userId="6b4f6ed025dfef75" providerId="LiveId" clId="{FEE1A4BA-1032-4F94-B5EB-21E0C28A8421}" dt="2020-04-10T13:53:30.408" v="65" actId="403"/>
          <ac:spMkLst>
            <pc:docMk/>
            <pc:sldMk cId="1056215782" sldId="3146"/>
            <ac:spMk id="3" creationId="{E5360240-061F-4F41-A655-83720788F8C8}"/>
          </ac:spMkLst>
        </pc:spChg>
      </pc:sldChg>
      <pc:sldChg chg="modSp mod">
        <pc:chgData name="卫 岩" userId="6b4f6ed025dfef75" providerId="LiveId" clId="{FEE1A4BA-1032-4F94-B5EB-21E0C28A8421}" dt="2020-04-10T13:55:54.932" v="100" actId="1076"/>
        <pc:sldMkLst>
          <pc:docMk/>
          <pc:sldMk cId="2354180215" sldId="3147"/>
        </pc:sldMkLst>
        <pc:spChg chg="mod">
          <ac:chgData name="卫 岩" userId="6b4f6ed025dfef75" providerId="LiveId" clId="{FEE1A4BA-1032-4F94-B5EB-21E0C28A8421}" dt="2020-04-10T13:55:54.932" v="100" actId="1076"/>
          <ac:spMkLst>
            <pc:docMk/>
            <pc:sldMk cId="2354180215" sldId="3147"/>
            <ac:spMk id="3" creationId="{50564607-8938-4299-BB47-F3B3C35AC21A}"/>
          </ac:spMkLst>
        </pc:spChg>
        <pc:picChg chg="mod">
          <ac:chgData name="卫 岩" userId="6b4f6ed025dfef75" providerId="LiveId" clId="{FEE1A4BA-1032-4F94-B5EB-21E0C28A8421}" dt="2020-04-10T13:55:48.220" v="99" actId="1076"/>
          <ac:picMkLst>
            <pc:docMk/>
            <pc:sldMk cId="2354180215" sldId="3147"/>
            <ac:picMk id="2" creationId="{976AA63E-9904-4D59-B25E-F144E993E9EC}"/>
          </ac:picMkLst>
        </pc:picChg>
      </pc:sldChg>
      <pc:sldChg chg="modSp mod">
        <pc:chgData name="卫 岩" userId="6b4f6ed025dfef75" providerId="LiveId" clId="{FEE1A4BA-1032-4F94-B5EB-21E0C28A8421}" dt="2020-04-10T13:56:28.870" v="115" actId="207"/>
        <pc:sldMkLst>
          <pc:docMk/>
          <pc:sldMk cId="3133840555" sldId="3148"/>
        </pc:sldMkLst>
        <pc:spChg chg="mod">
          <ac:chgData name="卫 岩" userId="6b4f6ed025dfef75" providerId="LiveId" clId="{FEE1A4BA-1032-4F94-B5EB-21E0C28A8421}" dt="2020-04-10T13:56:28.870" v="115" actId="207"/>
          <ac:spMkLst>
            <pc:docMk/>
            <pc:sldMk cId="3133840555" sldId="3148"/>
            <ac:spMk id="3" creationId="{ACF4F5AB-85C4-4F48-AD97-2232E10923E0}"/>
          </ac:spMkLst>
        </pc:spChg>
        <pc:picChg chg="mod">
          <ac:chgData name="卫 岩" userId="6b4f6ed025dfef75" providerId="LiveId" clId="{FEE1A4BA-1032-4F94-B5EB-21E0C28A8421}" dt="2020-04-10T13:56:00.053" v="101" actId="1076"/>
          <ac:picMkLst>
            <pc:docMk/>
            <pc:sldMk cId="3133840555" sldId="3148"/>
            <ac:picMk id="2" creationId="{18F285CD-C365-40F0-9D91-23C3F1E14A80}"/>
          </ac:picMkLst>
        </pc:picChg>
      </pc:sldChg>
      <pc:sldChg chg="modSp mod">
        <pc:chgData name="卫 岩" userId="6b4f6ed025dfef75" providerId="LiveId" clId="{FEE1A4BA-1032-4F94-B5EB-21E0C28A8421}" dt="2020-04-10T13:53:59.215" v="68" actId="1076"/>
        <pc:sldMkLst>
          <pc:docMk/>
          <pc:sldMk cId="2617911557" sldId="3149"/>
        </pc:sldMkLst>
        <pc:picChg chg="mod">
          <ac:chgData name="卫 岩" userId="6b4f6ed025dfef75" providerId="LiveId" clId="{FEE1A4BA-1032-4F94-B5EB-21E0C28A8421}" dt="2020-04-10T13:53:59.215" v="68" actId="1076"/>
          <ac:picMkLst>
            <pc:docMk/>
            <pc:sldMk cId="2617911557" sldId="3149"/>
            <ac:picMk id="7" creationId="{AF7EE2BC-85B5-48A8-8CDF-4EB5CFF860BA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A64B05-B62B-4518-A38B-6BD69054DAA5}" type="doc">
      <dgm:prSet loTypeId="urn:microsoft.com/office/officeart/2009/3/layout/StepUpProcess" loCatId="process" qsTypeId="urn:microsoft.com/office/officeart/2005/8/quickstyle/simple2" qsCatId="simple" csTypeId="urn:microsoft.com/office/officeart/2005/8/colors/accent1_2" csCatId="accent1" phldr="1"/>
      <dgm:spPr/>
    </dgm:pt>
    <dgm:pt modelId="{6675F492-1955-40F1-98D4-D4002E0F55E5}">
      <dgm:prSet phldrT="[文本]" custT="1"/>
      <dgm:spPr/>
      <dgm:t>
        <a:bodyPr/>
        <a:lstStyle/>
        <a:p>
          <a:r>
            <a:rPr lang="en-US" altLang="zh-CN" sz="1700" dirty="0"/>
            <a:t>2014</a:t>
          </a:r>
          <a:r>
            <a:rPr lang="zh-CN" altLang="en-US" sz="1700" dirty="0"/>
            <a:t>年：运维起步</a:t>
          </a:r>
        </a:p>
      </dgm:t>
    </dgm:pt>
    <dgm:pt modelId="{691B69C9-7221-4280-86A0-C51B6BB3B014}" type="parTrans" cxnId="{D44876D0-8AC4-43DD-BD6A-F0E4040A0FF7}">
      <dgm:prSet/>
      <dgm:spPr/>
      <dgm:t>
        <a:bodyPr/>
        <a:lstStyle/>
        <a:p>
          <a:endParaRPr lang="zh-CN" altLang="en-US" sz="2800"/>
        </a:p>
      </dgm:t>
    </dgm:pt>
    <dgm:pt modelId="{74202201-14CA-451E-B954-F5F56FEF6E4A}" type="sibTrans" cxnId="{D44876D0-8AC4-43DD-BD6A-F0E4040A0FF7}">
      <dgm:prSet/>
      <dgm:spPr/>
      <dgm:t>
        <a:bodyPr/>
        <a:lstStyle/>
        <a:p>
          <a:endParaRPr lang="zh-CN" altLang="en-US" sz="2800"/>
        </a:p>
      </dgm:t>
    </dgm:pt>
    <dgm:pt modelId="{39F93F68-81B7-400C-904D-B8D899DBB516}">
      <dgm:prSet phldrT="[文本]" custT="1"/>
      <dgm:spPr/>
      <dgm:t>
        <a:bodyPr/>
        <a:lstStyle/>
        <a:p>
          <a:r>
            <a:rPr lang="en-US" altLang="zh-CN" sz="1700" dirty="0"/>
            <a:t>2016</a:t>
          </a:r>
          <a:r>
            <a:rPr lang="zh-CN" altLang="en-US" sz="1700" dirty="0"/>
            <a:t>年</a:t>
          </a:r>
          <a:r>
            <a:rPr lang="en-US" altLang="zh-CN" sz="1700" dirty="0"/>
            <a:t>: </a:t>
          </a:r>
          <a:r>
            <a:rPr lang="zh-CN" altLang="en-US" sz="1700" dirty="0"/>
            <a:t>全球部署</a:t>
          </a:r>
        </a:p>
      </dgm:t>
    </dgm:pt>
    <dgm:pt modelId="{0ECB2BE1-D251-4CA2-82F0-18FE9A3D95D4}" type="parTrans" cxnId="{BABF7DCF-5B87-44C8-8D6A-594B0E8BBA15}">
      <dgm:prSet/>
      <dgm:spPr/>
      <dgm:t>
        <a:bodyPr/>
        <a:lstStyle/>
        <a:p>
          <a:endParaRPr lang="zh-CN" altLang="en-US" sz="2800"/>
        </a:p>
      </dgm:t>
    </dgm:pt>
    <dgm:pt modelId="{F902DCB2-FD34-4F5D-ACB0-1A2D1E00BB64}" type="sibTrans" cxnId="{BABF7DCF-5B87-44C8-8D6A-594B0E8BBA15}">
      <dgm:prSet/>
      <dgm:spPr/>
      <dgm:t>
        <a:bodyPr/>
        <a:lstStyle/>
        <a:p>
          <a:endParaRPr lang="zh-CN" altLang="en-US" sz="2800"/>
        </a:p>
      </dgm:t>
    </dgm:pt>
    <dgm:pt modelId="{0CBF9641-DA49-49C6-8D6F-87EE99C60342}">
      <dgm:prSet phldrT="[文本]" custT="1"/>
      <dgm:spPr/>
      <dgm:t>
        <a:bodyPr/>
        <a:lstStyle/>
        <a:p>
          <a:r>
            <a:rPr lang="en-US" altLang="zh-CN" sz="1700" dirty="0"/>
            <a:t>2017</a:t>
          </a:r>
          <a:r>
            <a:rPr lang="zh-CN" altLang="en-US" sz="1700" dirty="0"/>
            <a:t>年：高并发挑战</a:t>
          </a:r>
          <a:endParaRPr lang="en-US" altLang="zh-CN" sz="1700" dirty="0"/>
        </a:p>
      </dgm:t>
    </dgm:pt>
    <dgm:pt modelId="{2462A7A6-2D39-4828-8976-D11AFF1E1524}" type="parTrans" cxnId="{B629F78D-4EAF-4757-9D8D-CFB11FF74B3B}">
      <dgm:prSet/>
      <dgm:spPr/>
      <dgm:t>
        <a:bodyPr/>
        <a:lstStyle/>
        <a:p>
          <a:endParaRPr lang="zh-CN" altLang="en-US" sz="2800"/>
        </a:p>
      </dgm:t>
    </dgm:pt>
    <dgm:pt modelId="{C9513DA7-A81E-48D4-AD97-4DE4E33BBAA5}" type="sibTrans" cxnId="{B629F78D-4EAF-4757-9D8D-CFB11FF74B3B}">
      <dgm:prSet/>
      <dgm:spPr/>
      <dgm:t>
        <a:bodyPr/>
        <a:lstStyle/>
        <a:p>
          <a:endParaRPr lang="zh-CN" altLang="en-US" sz="2800"/>
        </a:p>
      </dgm:t>
    </dgm:pt>
    <dgm:pt modelId="{955AB32F-83B5-4F9B-A7DD-789F69076553}">
      <dgm:prSet phldrT="[文本]" custT="1"/>
      <dgm:spPr/>
      <dgm:t>
        <a:bodyPr/>
        <a:lstStyle/>
        <a:p>
          <a:r>
            <a:rPr lang="en-US" altLang="zh-CN" sz="1700" dirty="0"/>
            <a:t>2019</a:t>
          </a:r>
          <a:r>
            <a:rPr lang="zh-CN" altLang="en-US" sz="1700" dirty="0"/>
            <a:t>年：运维运营化</a:t>
          </a:r>
        </a:p>
      </dgm:t>
    </dgm:pt>
    <dgm:pt modelId="{35400AAF-2B4C-416A-95ED-57D6B8808AB8}" type="parTrans" cxnId="{578D0138-E915-49FD-8919-E38D36F0B598}">
      <dgm:prSet/>
      <dgm:spPr/>
      <dgm:t>
        <a:bodyPr/>
        <a:lstStyle/>
        <a:p>
          <a:endParaRPr lang="zh-CN" altLang="en-US" sz="2800"/>
        </a:p>
      </dgm:t>
    </dgm:pt>
    <dgm:pt modelId="{5F17E030-4F24-4ECB-9B0E-52E854863E30}" type="sibTrans" cxnId="{578D0138-E915-49FD-8919-E38D36F0B598}">
      <dgm:prSet/>
      <dgm:spPr/>
      <dgm:t>
        <a:bodyPr/>
        <a:lstStyle/>
        <a:p>
          <a:endParaRPr lang="zh-CN" altLang="en-US" sz="2800"/>
        </a:p>
      </dgm:t>
    </dgm:pt>
    <dgm:pt modelId="{96BB8EC4-F090-41A5-B58A-708C01C2E697}">
      <dgm:prSet phldrT="[文本]" custT="1"/>
      <dgm:spPr/>
      <dgm:t>
        <a:bodyPr/>
        <a:lstStyle/>
        <a:p>
          <a:r>
            <a:rPr lang="zh-CN" altLang="en-US" sz="1200" dirty="0"/>
            <a:t>业务峰值</a:t>
          </a:r>
          <a:r>
            <a:rPr lang="en-US" altLang="zh-CN" sz="1200" dirty="0"/>
            <a:t>QPS</a:t>
          </a:r>
          <a:r>
            <a:rPr lang="zh-CN" altLang="en-US" sz="1200" dirty="0"/>
            <a:t>：</a:t>
          </a:r>
          <a:r>
            <a:rPr lang="en-US" altLang="zh-CN" sz="1200" dirty="0"/>
            <a:t>1.3</a:t>
          </a:r>
          <a:r>
            <a:rPr lang="zh-CN" altLang="en-US" sz="1200" dirty="0"/>
            <a:t>万</a:t>
          </a:r>
          <a:r>
            <a:rPr lang="en-US" altLang="zh-CN" sz="1200" dirty="0"/>
            <a:t>/s</a:t>
          </a:r>
          <a:endParaRPr lang="zh-CN" altLang="en-US" sz="1200" dirty="0"/>
        </a:p>
      </dgm:t>
    </dgm:pt>
    <dgm:pt modelId="{4432E199-1F61-4A80-BDB1-3941213BC7B7}" type="parTrans" cxnId="{56DB564A-8434-4AB4-B489-764DBE35618A}">
      <dgm:prSet/>
      <dgm:spPr/>
      <dgm:t>
        <a:bodyPr/>
        <a:lstStyle/>
        <a:p>
          <a:endParaRPr lang="zh-CN" altLang="en-US" sz="2800"/>
        </a:p>
      </dgm:t>
    </dgm:pt>
    <dgm:pt modelId="{B49578B5-A09B-40BB-AB7A-055F455BBE58}" type="sibTrans" cxnId="{56DB564A-8434-4AB4-B489-764DBE35618A}">
      <dgm:prSet/>
      <dgm:spPr/>
      <dgm:t>
        <a:bodyPr/>
        <a:lstStyle/>
        <a:p>
          <a:endParaRPr lang="zh-CN" altLang="en-US" sz="2800"/>
        </a:p>
      </dgm:t>
    </dgm:pt>
    <dgm:pt modelId="{7EF40FBB-4A54-4677-8147-6893B2512223}">
      <dgm:prSet phldrT="[文本]" custT="1"/>
      <dgm:spPr/>
      <dgm:t>
        <a:bodyPr/>
        <a:lstStyle/>
        <a:p>
          <a:r>
            <a:rPr lang="zh-CN" altLang="en-US" sz="1200" dirty="0"/>
            <a:t>运维人数：</a:t>
          </a:r>
          <a:r>
            <a:rPr lang="en-US" altLang="zh-CN" sz="1200" dirty="0"/>
            <a:t>2</a:t>
          </a:r>
          <a:r>
            <a:rPr lang="zh-CN" altLang="en-US" sz="1200" dirty="0"/>
            <a:t>人</a:t>
          </a:r>
        </a:p>
      </dgm:t>
    </dgm:pt>
    <dgm:pt modelId="{B339F2C4-16BF-48A0-BA9B-287A4C179A43}" type="parTrans" cxnId="{11B4AC76-5E22-4B9A-81BB-77F2F0D958D6}">
      <dgm:prSet/>
      <dgm:spPr/>
      <dgm:t>
        <a:bodyPr/>
        <a:lstStyle/>
        <a:p>
          <a:endParaRPr lang="zh-CN" altLang="en-US" sz="2800"/>
        </a:p>
      </dgm:t>
    </dgm:pt>
    <dgm:pt modelId="{B09CC002-86CE-49F7-84E0-D988DD3A3636}" type="sibTrans" cxnId="{11B4AC76-5E22-4B9A-81BB-77F2F0D958D6}">
      <dgm:prSet/>
      <dgm:spPr/>
      <dgm:t>
        <a:bodyPr/>
        <a:lstStyle/>
        <a:p>
          <a:endParaRPr lang="zh-CN" altLang="en-US" sz="2800"/>
        </a:p>
      </dgm:t>
    </dgm:pt>
    <dgm:pt modelId="{38F95337-7841-41C3-8CF4-C67FAD80E2C4}">
      <dgm:prSet phldrT="[文本]" custT="1"/>
      <dgm:spPr/>
      <dgm:t>
        <a:bodyPr/>
        <a:lstStyle/>
        <a:p>
          <a:r>
            <a:rPr lang="zh-CN" altLang="en-US" sz="1200" dirty="0"/>
            <a:t>物理服务器：</a:t>
          </a:r>
          <a:r>
            <a:rPr lang="en-US" altLang="zh-CN" sz="1200" dirty="0"/>
            <a:t>70+</a:t>
          </a:r>
          <a:endParaRPr lang="zh-CN" altLang="en-US" sz="1200" dirty="0"/>
        </a:p>
      </dgm:t>
    </dgm:pt>
    <dgm:pt modelId="{7BB901DC-50F3-4DF0-9D05-04B7C32BF354}" type="parTrans" cxnId="{BF4B2143-D14B-44A8-A9FB-B09BD1B19735}">
      <dgm:prSet/>
      <dgm:spPr/>
      <dgm:t>
        <a:bodyPr/>
        <a:lstStyle/>
        <a:p>
          <a:endParaRPr lang="zh-CN" altLang="en-US" sz="2800"/>
        </a:p>
      </dgm:t>
    </dgm:pt>
    <dgm:pt modelId="{10F0A4A4-C0F0-47B6-AC32-E28B1002B42B}" type="sibTrans" cxnId="{BF4B2143-D14B-44A8-A9FB-B09BD1B19735}">
      <dgm:prSet/>
      <dgm:spPr/>
      <dgm:t>
        <a:bodyPr/>
        <a:lstStyle/>
        <a:p>
          <a:endParaRPr lang="zh-CN" altLang="en-US" sz="2800"/>
        </a:p>
      </dgm:t>
    </dgm:pt>
    <dgm:pt modelId="{956466B7-6E8D-48BB-A8D1-E8CD7D25A03C}">
      <dgm:prSet phldrT="[文本]" custT="1"/>
      <dgm:spPr/>
      <dgm:t>
        <a:bodyPr/>
        <a:lstStyle/>
        <a:p>
          <a:r>
            <a:rPr lang="zh-CN" altLang="en-US" sz="1200" dirty="0"/>
            <a:t>运维方式：人肉</a:t>
          </a:r>
          <a:r>
            <a:rPr lang="en-US" altLang="zh-CN" sz="1200" dirty="0"/>
            <a:t>+</a:t>
          </a:r>
          <a:r>
            <a:rPr lang="zh-CN" altLang="en-US" sz="1200" dirty="0"/>
            <a:t>脚本运维</a:t>
          </a:r>
        </a:p>
      </dgm:t>
    </dgm:pt>
    <dgm:pt modelId="{E4D5A6BD-DB6A-49E0-BD25-64AB8282B6DC}" type="parTrans" cxnId="{7DFA7A62-56B3-4237-BB23-81CF7E524436}">
      <dgm:prSet/>
      <dgm:spPr/>
      <dgm:t>
        <a:bodyPr/>
        <a:lstStyle/>
        <a:p>
          <a:endParaRPr lang="zh-CN" altLang="en-US" sz="2800"/>
        </a:p>
      </dgm:t>
    </dgm:pt>
    <dgm:pt modelId="{716790BF-4C90-4BF8-B58B-B88BB232B1AB}" type="sibTrans" cxnId="{7DFA7A62-56B3-4237-BB23-81CF7E524436}">
      <dgm:prSet/>
      <dgm:spPr/>
      <dgm:t>
        <a:bodyPr/>
        <a:lstStyle/>
        <a:p>
          <a:endParaRPr lang="zh-CN" altLang="en-US" sz="2800"/>
        </a:p>
      </dgm:t>
    </dgm:pt>
    <dgm:pt modelId="{87A38FB9-FB03-4A51-ACCC-B90E59C24BE1}">
      <dgm:prSet phldrT="[文本]" custT="1"/>
      <dgm:spPr/>
      <dgm:t>
        <a:bodyPr/>
        <a:lstStyle/>
        <a:p>
          <a:r>
            <a:rPr lang="zh-CN" altLang="en-US" sz="1200" dirty="0"/>
            <a:t>业务</a:t>
          </a:r>
          <a:r>
            <a:rPr lang="en-US" altLang="zh-CN" sz="1200" dirty="0"/>
            <a:t>PV</a:t>
          </a:r>
          <a:r>
            <a:rPr lang="zh-CN" altLang="en-US" sz="1200" dirty="0"/>
            <a:t>：</a:t>
          </a:r>
          <a:r>
            <a:rPr lang="en-US" altLang="zh-CN" sz="1200" dirty="0"/>
            <a:t>2700</a:t>
          </a:r>
          <a:r>
            <a:rPr lang="zh-CN" altLang="en-US" sz="1200" dirty="0"/>
            <a:t>万</a:t>
          </a:r>
        </a:p>
      </dgm:t>
    </dgm:pt>
    <dgm:pt modelId="{E2777DD8-B6DA-446C-BBCC-145527B8F3A5}" type="parTrans" cxnId="{4905B233-7BAC-4F71-89AD-7CAAA9AFEAA1}">
      <dgm:prSet/>
      <dgm:spPr/>
      <dgm:t>
        <a:bodyPr/>
        <a:lstStyle/>
        <a:p>
          <a:endParaRPr lang="zh-CN" altLang="en-US" sz="2800"/>
        </a:p>
      </dgm:t>
    </dgm:pt>
    <dgm:pt modelId="{AC409E83-AD43-49C6-8F8F-6E783307B6D8}" type="sibTrans" cxnId="{4905B233-7BAC-4F71-89AD-7CAAA9AFEAA1}">
      <dgm:prSet/>
      <dgm:spPr/>
      <dgm:t>
        <a:bodyPr/>
        <a:lstStyle/>
        <a:p>
          <a:endParaRPr lang="zh-CN" altLang="en-US" sz="2800"/>
        </a:p>
      </dgm:t>
    </dgm:pt>
    <dgm:pt modelId="{0C34A795-42CE-4C25-8457-225CAA86A6D4}">
      <dgm:prSet phldrT="[文本]" custT="1"/>
      <dgm:spPr/>
      <dgm:t>
        <a:bodyPr/>
        <a:lstStyle/>
        <a:p>
          <a:r>
            <a:rPr lang="zh-CN" altLang="en-US" sz="1200" dirty="0"/>
            <a:t>运维人数：</a:t>
          </a:r>
          <a:r>
            <a:rPr lang="en-US" altLang="zh-CN" sz="1200" dirty="0"/>
            <a:t>9</a:t>
          </a:r>
          <a:r>
            <a:rPr lang="zh-CN" altLang="en-US" sz="1200" dirty="0"/>
            <a:t>人</a:t>
          </a:r>
        </a:p>
      </dgm:t>
    </dgm:pt>
    <dgm:pt modelId="{236B398B-4B75-4123-A019-C9779D249E99}" type="parTrans" cxnId="{123AF622-34C7-492F-A424-E8E542BA8AD8}">
      <dgm:prSet/>
      <dgm:spPr/>
      <dgm:t>
        <a:bodyPr/>
        <a:lstStyle/>
        <a:p>
          <a:endParaRPr lang="zh-CN" altLang="en-US" sz="2800"/>
        </a:p>
      </dgm:t>
    </dgm:pt>
    <dgm:pt modelId="{DBF28967-5C66-4730-8D92-3114D7CB66F8}" type="sibTrans" cxnId="{123AF622-34C7-492F-A424-E8E542BA8AD8}">
      <dgm:prSet/>
      <dgm:spPr/>
      <dgm:t>
        <a:bodyPr/>
        <a:lstStyle/>
        <a:p>
          <a:endParaRPr lang="zh-CN" altLang="en-US" sz="2800"/>
        </a:p>
      </dgm:t>
    </dgm:pt>
    <dgm:pt modelId="{7191C1C4-E233-4B2B-9F44-F51A5812BFDF}">
      <dgm:prSet phldrT="[文本]" custT="1"/>
      <dgm:spPr/>
      <dgm:t>
        <a:bodyPr/>
        <a:lstStyle/>
        <a:p>
          <a:r>
            <a:rPr lang="zh-CN" altLang="en-US" sz="1200" dirty="0"/>
            <a:t>物理服务器：</a:t>
          </a:r>
          <a:r>
            <a:rPr lang="en-US" altLang="zh-CN" sz="1200" dirty="0"/>
            <a:t>210+</a:t>
          </a:r>
          <a:endParaRPr lang="zh-CN" altLang="en-US" sz="1200" dirty="0"/>
        </a:p>
      </dgm:t>
    </dgm:pt>
    <dgm:pt modelId="{7E03FDB3-2DD3-4D57-8433-7F019208CE1D}" type="parTrans" cxnId="{35C57386-0017-4079-901D-921D2DAE2E2C}">
      <dgm:prSet/>
      <dgm:spPr/>
      <dgm:t>
        <a:bodyPr/>
        <a:lstStyle/>
        <a:p>
          <a:endParaRPr lang="zh-CN" altLang="en-US" sz="2800"/>
        </a:p>
      </dgm:t>
    </dgm:pt>
    <dgm:pt modelId="{1773A773-7B1B-442B-8044-2CC4941A45E2}" type="sibTrans" cxnId="{35C57386-0017-4079-901D-921D2DAE2E2C}">
      <dgm:prSet/>
      <dgm:spPr/>
      <dgm:t>
        <a:bodyPr/>
        <a:lstStyle/>
        <a:p>
          <a:endParaRPr lang="zh-CN" altLang="en-US" sz="2800"/>
        </a:p>
      </dgm:t>
    </dgm:pt>
    <dgm:pt modelId="{4C2B8FCF-029F-413F-90BA-C31DDAEEBB3E}">
      <dgm:prSet phldrT="[文本]" custT="1"/>
      <dgm:spPr/>
      <dgm:t>
        <a:bodyPr/>
        <a:lstStyle/>
        <a:p>
          <a:r>
            <a:rPr lang="zh-CN" altLang="en-US" sz="1200" dirty="0"/>
            <a:t>运维方式：工具</a:t>
          </a:r>
          <a:r>
            <a:rPr lang="en-US" altLang="zh-CN" sz="1200" dirty="0"/>
            <a:t>+</a:t>
          </a:r>
          <a:r>
            <a:rPr lang="zh-CN" altLang="en-US" sz="1200" dirty="0"/>
            <a:t>平台</a:t>
          </a:r>
        </a:p>
      </dgm:t>
    </dgm:pt>
    <dgm:pt modelId="{D9B8235C-2C1A-4190-9752-B0965A572597}" type="parTrans" cxnId="{FB6995C3-5B73-4022-AF56-7D505CC9D008}">
      <dgm:prSet/>
      <dgm:spPr/>
      <dgm:t>
        <a:bodyPr/>
        <a:lstStyle/>
        <a:p>
          <a:endParaRPr lang="zh-CN" altLang="en-US" sz="2800"/>
        </a:p>
      </dgm:t>
    </dgm:pt>
    <dgm:pt modelId="{CDB70E45-C546-43FE-BDCB-670E8083BEB2}" type="sibTrans" cxnId="{FB6995C3-5B73-4022-AF56-7D505CC9D008}">
      <dgm:prSet/>
      <dgm:spPr/>
      <dgm:t>
        <a:bodyPr/>
        <a:lstStyle/>
        <a:p>
          <a:endParaRPr lang="zh-CN" altLang="en-US" sz="2800"/>
        </a:p>
      </dgm:t>
    </dgm:pt>
    <dgm:pt modelId="{528A148C-C077-4CAA-AEDD-C699E819E136}">
      <dgm:prSet phldrT="[文本]" custT="1"/>
      <dgm:spPr/>
      <dgm:t>
        <a:bodyPr/>
        <a:lstStyle/>
        <a:p>
          <a:r>
            <a:rPr lang="zh-CN" altLang="en-US" sz="1200" dirty="0"/>
            <a:t>业务峰值</a:t>
          </a:r>
          <a:r>
            <a:rPr lang="en-US" altLang="zh-CN" sz="1200" dirty="0"/>
            <a:t>QPS</a:t>
          </a:r>
          <a:r>
            <a:rPr lang="zh-CN" altLang="en-US" sz="1200" dirty="0"/>
            <a:t>：</a:t>
          </a:r>
          <a:r>
            <a:rPr lang="en-US" altLang="zh-CN" sz="1200" dirty="0"/>
            <a:t>8</a:t>
          </a:r>
          <a:r>
            <a:rPr lang="zh-CN" altLang="en-US" sz="1200" dirty="0"/>
            <a:t>万</a:t>
          </a:r>
          <a:r>
            <a:rPr lang="en-US" altLang="zh-CN" sz="1200" dirty="0"/>
            <a:t>/s</a:t>
          </a:r>
          <a:endParaRPr lang="zh-CN" altLang="en-US" sz="1200" dirty="0"/>
        </a:p>
      </dgm:t>
    </dgm:pt>
    <dgm:pt modelId="{4E844570-AD7F-4696-9ABF-7207173B7B01}" type="parTrans" cxnId="{02E839DE-6DAE-4A5B-9899-5830867CB1E9}">
      <dgm:prSet/>
      <dgm:spPr/>
      <dgm:t>
        <a:bodyPr/>
        <a:lstStyle/>
        <a:p>
          <a:endParaRPr lang="zh-CN" altLang="en-US" sz="2800"/>
        </a:p>
      </dgm:t>
    </dgm:pt>
    <dgm:pt modelId="{4B9C7B7B-DF0F-4225-8B5E-B572AC1C70BB}" type="sibTrans" cxnId="{02E839DE-6DAE-4A5B-9899-5830867CB1E9}">
      <dgm:prSet/>
      <dgm:spPr/>
      <dgm:t>
        <a:bodyPr/>
        <a:lstStyle/>
        <a:p>
          <a:endParaRPr lang="zh-CN" altLang="en-US" sz="2800"/>
        </a:p>
      </dgm:t>
    </dgm:pt>
    <dgm:pt modelId="{B9048A37-5A6C-4AE6-ACA8-DF78D1CA332F}">
      <dgm:prSet phldrT="[文本]" custT="1"/>
      <dgm:spPr/>
      <dgm:t>
        <a:bodyPr/>
        <a:lstStyle/>
        <a:p>
          <a:r>
            <a:rPr lang="zh-CN" altLang="en-US" sz="1200" dirty="0"/>
            <a:t>业务</a:t>
          </a:r>
          <a:r>
            <a:rPr lang="en-US" altLang="zh-CN" sz="1200" dirty="0"/>
            <a:t>PV</a:t>
          </a:r>
          <a:r>
            <a:rPr lang="zh-CN" altLang="en-US" sz="1200" dirty="0"/>
            <a:t>：</a:t>
          </a:r>
          <a:r>
            <a:rPr lang="en-US" altLang="zh-CN" sz="1200" dirty="0"/>
            <a:t>50</a:t>
          </a:r>
          <a:r>
            <a:rPr lang="zh-CN" altLang="en-US" sz="1200" dirty="0"/>
            <a:t>亿</a:t>
          </a:r>
        </a:p>
      </dgm:t>
    </dgm:pt>
    <dgm:pt modelId="{C0FCE141-039A-4484-80BE-5D053839ED75}" type="parTrans" cxnId="{EAC6B8F8-910E-483B-B1A2-40A27F28033A}">
      <dgm:prSet/>
      <dgm:spPr/>
      <dgm:t>
        <a:bodyPr/>
        <a:lstStyle/>
        <a:p>
          <a:endParaRPr lang="zh-CN" altLang="en-US" sz="2800"/>
        </a:p>
      </dgm:t>
    </dgm:pt>
    <dgm:pt modelId="{28474821-1A90-42D0-9A07-03C60F24C9CF}" type="sibTrans" cxnId="{EAC6B8F8-910E-483B-B1A2-40A27F28033A}">
      <dgm:prSet/>
      <dgm:spPr/>
      <dgm:t>
        <a:bodyPr/>
        <a:lstStyle/>
        <a:p>
          <a:endParaRPr lang="zh-CN" altLang="en-US" sz="2800"/>
        </a:p>
      </dgm:t>
    </dgm:pt>
    <dgm:pt modelId="{E81165A0-D322-47AE-BEE6-DA338D46F7AE}">
      <dgm:prSet custT="1"/>
      <dgm:spPr/>
      <dgm:t>
        <a:bodyPr/>
        <a:lstStyle/>
        <a:p>
          <a:r>
            <a:rPr lang="zh-CN" altLang="en-US" sz="1200" dirty="0"/>
            <a:t>运维人数：</a:t>
          </a:r>
          <a:r>
            <a:rPr lang="en-US" altLang="zh-CN" sz="1200" dirty="0"/>
            <a:t>9</a:t>
          </a:r>
          <a:r>
            <a:rPr lang="zh-CN" altLang="en-US" sz="1200" dirty="0"/>
            <a:t>人</a:t>
          </a:r>
          <a:endParaRPr lang="en-US" altLang="zh-CN" sz="1200" dirty="0"/>
        </a:p>
      </dgm:t>
    </dgm:pt>
    <dgm:pt modelId="{05923F60-FE13-4111-90AF-41A4EABDFDAD}" type="parTrans" cxnId="{0AEB79F6-4519-4BFA-8E35-F58313408525}">
      <dgm:prSet/>
      <dgm:spPr/>
      <dgm:t>
        <a:bodyPr/>
        <a:lstStyle/>
        <a:p>
          <a:endParaRPr lang="zh-CN" altLang="en-US" sz="2800"/>
        </a:p>
      </dgm:t>
    </dgm:pt>
    <dgm:pt modelId="{F3B2023E-71F5-4770-8508-F7DB0C07F53F}" type="sibTrans" cxnId="{0AEB79F6-4519-4BFA-8E35-F58313408525}">
      <dgm:prSet/>
      <dgm:spPr/>
      <dgm:t>
        <a:bodyPr/>
        <a:lstStyle/>
        <a:p>
          <a:endParaRPr lang="zh-CN" altLang="en-US" sz="2800"/>
        </a:p>
      </dgm:t>
    </dgm:pt>
    <dgm:pt modelId="{22635625-5988-4E6C-8EA0-26C1BD5B0D45}">
      <dgm:prSet custT="1"/>
      <dgm:spPr/>
      <dgm:t>
        <a:bodyPr/>
        <a:lstStyle/>
        <a:p>
          <a:r>
            <a:rPr lang="zh-CN" altLang="en-US" sz="1200" dirty="0"/>
            <a:t>物理服务器：</a:t>
          </a:r>
          <a:r>
            <a:rPr lang="en-US" altLang="zh-CN" sz="1200" dirty="0"/>
            <a:t>500+</a:t>
          </a:r>
        </a:p>
      </dgm:t>
    </dgm:pt>
    <dgm:pt modelId="{708575BF-A81F-4428-B28F-BC1AFEB7BB4E}" type="parTrans" cxnId="{567B7A06-84F0-4118-B42F-9093D1D9BDB4}">
      <dgm:prSet/>
      <dgm:spPr/>
      <dgm:t>
        <a:bodyPr/>
        <a:lstStyle/>
        <a:p>
          <a:endParaRPr lang="zh-CN" altLang="en-US" sz="2800"/>
        </a:p>
      </dgm:t>
    </dgm:pt>
    <dgm:pt modelId="{4DC2ED9A-3058-4F76-8586-DFF56B8838C1}" type="sibTrans" cxnId="{567B7A06-84F0-4118-B42F-9093D1D9BDB4}">
      <dgm:prSet/>
      <dgm:spPr/>
      <dgm:t>
        <a:bodyPr/>
        <a:lstStyle/>
        <a:p>
          <a:endParaRPr lang="zh-CN" altLang="en-US" sz="2800"/>
        </a:p>
      </dgm:t>
    </dgm:pt>
    <dgm:pt modelId="{A9ABCD4D-467D-4EB8-97F3-330544323562}">
      <dgm:prSet custT="1"/>
      <dgm:spPr/>
      <dgm:t>
        <a:bodyPr/>
        <a:lstStyle/>
        <a:p>
          <a:r>
            <a:rPr lang="zh-CN" altLang="en-US" sz="1200" dirty="0"/>
            <a:t>运维方式：</a:t>
          </a:r>
          <a:r>
            <a:rPr lang="en-US" altLang="zh-CN" sz="1200" dirty="0"/>
            <a:t>Titan</a:t>
          </a:r>
          <a:r>
            <a:rPr lang="zh-CN" altLang="en-US" sz="1200" dirty="0"/>
            <a:t>管理平台</a:t>
          </a:r>
          <a:endParaRPr lang="en-US" altLang="zh-CN" sz="1200" dirty="0"/>
        </a:p>
      </dgm:t>
    </dgm:pt>
    <dgm:pt modelId="{0717A320-E5B4-4644-8DC8-14EA8C1ABCF1}" type="parTrans" cxnId="{5BD9B38C-9793-4290-AD81-DC2997BF39B6}">
      <dgm:prSet/>
      <dgm:spPr/>
      <dgm:t>
        <a:bodyPr/>
        <a:lstStyle/>
        <a:p>
          <a:endParaRPr lang="zh-CN" altLang="en-US" sz="2800"/>
        </a:p>
      </dgm:t>
    </dgm:pt>
    <dgm:pt modelId="{4B32BABF-A9A3-426A-B854-D3D27E64B0EE}" type="sibTrans" cxnId="{5BD9B38C-9793-4290-AD81-DC2997BF39B6}">
      <dgm:prSet/>
      <dgm:spPr/>
      <dgm:t>
        <a:bodyPr/>
        <a:lstStyle/>
        <a:p>
          <a:endParaRPr lang="zh-CN" altLang="en-US" sz="2800"/>
        </a:p>
      </dgm:t>
    </dgm:pt>
    <dgm:pt modelId="{4C660A23-7213-427B-B7AB-A69A7DDF2107}">
      <dgm:prSet custT="1"/>
      <dgm:spPr/>
      <dgm:t>
        <a:bodyPr/>
        <a:lstStyle/>
        <a:p>
          <a:r>
            <a:rPr lang="zh-CN" altLang="en-US" sz="1200" dirty="0"/>
            <a:t>业务峰值</a:t>
          </a:r>
          <a:r>
            <a:rPr lang="en-US" altLang="zh-CN" sz="1200" dirty="0"/>
            <a:t>QPS</a:t>
          </a:r>
          <a:r>
            <a:rPr lang="zh-CN" altLang="en-US" sz="1200" dirty="0"/>
            <a:t>：</a:t>
          </a:r>
          <a:r>
            <a:rPr lang="en-US" altLang="zh-CN" sz="1200" dirty="0"/>
            <a:t>17</a:t>
          </a:r>
          <a:r>
            <a:rPr lang="zh-CN" altLang="en-US" sz="1200" dirty="0"/>
            <a:t>万</a:t>
          </a:r>
          <a:r>
            <a:rPr lang="en-US" altLang="zh-CN" sz="1200" dirty="0"/>
            <a:t>/s</a:t>
          </a:r>
        </a:p>
      </dgm:t>
    </dgm:pt>
    <dgm:pt modelId="{25DD7C6B-398A-4FA4-B103-EEF353B9CD80}" type="parTrans" cxnId="{B0D0B2C6-EA97-43CD-8795-280C838CA10A}">
      <dgm:prSet/>
      <dgm:spPr/>
      <dgm:t>
        <a:bodyPr/>
        <a:lstStyle/>
        <a:p>
          <a:endParaRPr lang="zh-CN" altLang="en-US" sz="2800"/>
        </a:p>
      </dgm:t>
    </dgm:pt>
    <dgm:pt modelId="{20D44083-8CD0-4836-8A9B-914684C153F1}" type="sibTrans" cxnId="{B0D0B2C6-EA97-43CD-8795-280C838CA10A}">
      <dgm:prSet/>
      <dgm:spPr/>
      <dgm:t>
        <a:bodyPr/>
        <a:lstStyle/>
        <a:p>
          <a:endParaRPr lang="zh-CN" altLang="en-US" sz="2800"/>
        </a:p>
      </dgm:t>
    </dgm:pt>
    <dgm:pt modelId="{00EE17BC-03D3-4F72-B9F3-05175D20C0CC}">
      <dgm:prSet custT="1"/>
      <dgm:spPr/>
      <dgm:t>
        <a:bodyPr/>
        <a:lstStyle/>
        <a:p>
          <a:r>
            <a:rPr lang="zh-CN" altLang="en-US" sz="1200" dirty="0"/>
            <a:t>业务</a:t>
          </a:r>
          <a:r>
            <a:rPr lang="en-US" altLang="zh-CN" sz="1200" dirty="0"/>
            <a:t>PV</a:t>
          </a:r>
          <a:r>
            <a:rPr lang="zh-CN" altLang="en-US" sz="1200" dirty="0"/>
            <a:t>：</a:t>
          </a:r>
          <a:r>
            <a:rPr lang="en-US" altLang="zh-CN" sz="1200" dirty="0"/>
            <a:t>110</a:t>
          </a:r>
          <a:r>
            <a:rPr lang="zh-CN" altLang="en-US" sz="1200" dirty="0"/>
            <a:t>亿</a:t>
          </a:r>
          <a:endParaRPr lang="en-US" altLang="zh-CN" sz="1200" dirty="0"/>
        </a:p>
      </dgm:t>
    </dgm:pt>
    <dgm:pt modelId="{3B784B67-0748-458B-B96A-9F48683F59BF}" type="parTrans" cxnId="{9FCBC350-8629-47DC-AC9C-A2048D905855}">
      <dgm:prSet/>
      <dgm:spPr/>
      <dgm:t>
        <a:bodyPr/>
        <a:lstStyle/>
        <a:p>
          <a:endParaRPr lang="zh-CN" altLang="en-US" sz="2800"/>
        </a:p>
      </dgm:t>
    </dgm:pt>
    <dgm:pt modelId="{FEEC5480-9EF3-4E86-85C2-AC2EBADC3E63}" type="sibTrans" cxnId="{9FCBC350-8629-47DC-AC9C-A2048D905855}">
      <dgm:prSet/>
      <dgm:spPr/>
      <dgm:t>
        <a:bodyPr/>
        <a:lstStyle/>
        <a:p>
          <a:endParaRPr lang="zh-CN" altLang="en-US" sz="2800"/>
        </a:p>
      </dgm:t>
    </dgm:pt>
    <dgm:pt modelId="{DBFD8487-AE39-45AB-92B7-297F6B55C12B}">
      <dgm:prSet phldrT="[文本]" custT="1"/>
      <dgm:spPr/>
      <dgm:t>
        <a:bodyPr/>
        <a:lstStyle/>
        <a:p>
          <a:r>
            <a:rPr lang="en-US" altLang="zh-CN" sz="1200" dirty="0"/>
            <a:t>IDC</a:t>
          </a:r>
          <a:r>
            <a:rPr lang="zh-CN" altLang="en-US" sz="1200" dirty="0"/>
            <a:t>数量：</a:t>
          </a:r>
          <a:r>
            <a:rPr lang="en-US" altLang="zh-CN" sz="1200" dirty="0"/>
            <a:t>2</a:t>
          </a:r>
          <a:endParaRPr lang="zh-CN" altLang="en-US" sz="1200" dirty="0"/>
        </a:p>
      </dgm:t>
    </dgm:pt>
    <dgm:pt modelId="{4EE337B8-7F44-464C-B080-56C6BD6ED5AB}" type="parTrans" cxnId="{5C08DDBA-C48B-4E37-9C64-C15026984087}">
      <dgm:prSet/>
      <dgm:spPr/>
      <dgm:t>
        <a:bodyPr/>
        <a:lstStyle/>
        <a:p>
          <a:endParaRPr lang="zh-CN" altLang="en-US" sz="2800"/>
        </a:p>
      </dgm:t>
    </dgm:pt>
    <dgm:pt modelId="{FD29B602-FEA0-4254-8EFF-0680AD445BBD}" type="sibTrans" cxnId="{5C08DDBA-C48B-4E37-9C64-C15026984087}">
      <dgm:prSet/>
      <dgm:spPr/>
      <dgm:t>
        <a:bodyPr/>
        <a:lstStyle/>
        <a:p>
          <a:endParaRPr lang="zh-CN" altLang="en-US" sz="2800"/>
        </a:p>
      </dgm:t>
    </dgm:pt>
    <dgm:pt modelId="{A41055BD-79DC-4B38-ABE5-B515CB6FEE29}">
      <dgm:prSet phldrT="[文本]" custT="1"/>
      <dgm:spPr/>
      <dgm:t>
        <a:bodyPr/>
        <a:lstStyle/>
        <a:p>
          <a:r>
            <a:rPr lang="zh-CN" altLang="en-US" sz="1200" dirty="0"/>
            <a:t>物理</a:t>
          </a:r>
          <a:r>
            <a:rPr lang="en-US" altLang="zh-CN" sz="1200" dirty="0"/>
            <a:t>IDC</a:t>
          </a:r>
          <a:r>
            <a:rPr lang="zh-CN" altLang="en-US" sz="1200" dirty="0"/>
            <a:t>数量：</a:t>
          </a:r>
          <a:r>
            <a:rPr lang="en-US" altLang="zh-CN" sz="1200" dirty="0"/>
            <a:t>4</a:t>
          </a:r>
          <a:endParaRPr lang="zh-CN" altLang="en-US" sz="1200" dirty="0"/>
        </a:p>
      </dgm:t>
    </dgm:pt>
    <dgm:pt modelId="{05FDA5FE-393C-4DA1-9285-2003295D2534}" type="parTrans" cxnId="{CE426958-1EB6-4EB4-9696-C4D6A0AA55F2}">
      <dgm:prSet/>
      <dgm:spPr/>
      <dgm:t>
        <a:bodyPr/>
        <a:lstStyle/>
        <a:p>
          <a:endParaRPr lang="zh-CN" altLang="en-US" sz="2800"/>
        </a:p>
      </dgm:t>
    </dgm:pt>
    <dgm:pt modelId="{AB16B943-C24D-48A0-B189-2172B91020A2}" type="sibTrans" cxnId="{CE426958-1EB6-4EB4-9696-C4D6A0AA55F2}">
      <dgm:prSet/>
      <dgm:spPr/>
      <dgm:t>
        <a:bodyPr/>
        <a:lstStyle/>
        <a:p>
          <a:endParaRPr lang="zh-CN" altLang="en-US" sz="2800"/>
        </a:p>
      </dgm:t>
    </dgm:pt>
    <dgm:pt modelId="{FCD89EC8-2A4F-4125-8D6B-11C195A9C145}">
      <dgm:prSet custT="1"/>
      <dgm:spPr/>
      <dgm:t>
        <a:bodyPr/>
        <a:lstStyle/>
        <a:p>
          <a:r>
            <a:rPr lang="en-US" altLang="zh-CN" sz="1200" dirty="0"/>
            <a:t>IDC</a:t>
          </a:r>
          <a:r>
            <a:rPr lang="zh-CN" altLang="en-US" sz="1200" dirty="0"/>
            <a:t>数量：</a:t>
          </a:r>
          <a:r>
            <a:rPr lang="en-US" altLang="zh-CN" sz="1200" dirty="0"/>
            <a:t>8</a:t>
          </a:r>
        </a:p>
      </dgm:t>
    </dgm:pt>
    <dgm:pt modelId="{B8D61BC5-B2CD-42C1-B361-1D711098628B}" type="parTrans" cxnId="{14CC4A16-C235-42BF-896D-AE71B1A1C25B}">
      <dgm:prSet/>
      <dgm:spPr/>
      <dgm:t>
        <a:bodyPr/>
        <a:lstStyle/>
        <a:p>
          <a:endParaRPr lang="zh-CN" altLang="en-US" sz="2800"/>
        </a:p>
      </dgm:t>
    </dgm:pt>
    <dgm:pt modelId="{AF9FA019-C596-48A4-A5F5-17407F89161B}" type="sibTrans" cxnId="{14CC4A16-C235-42BF-896D-AE71B1A1C25B}">
      <dgm:prSet/>
      <dgm:spPr/>
      <dgm:t>
        <a:bodyPr/>
        <a:lstStyle/>
        <a:p>
          <a:endParaRPr lang="zh-CN" altLang="en-US" sz="2800"/>
        </a:p>
      </dgm:t>
    </dgm:pt>
    <dgm:pt modelId="{E0DAB5AF-DD57-4AF0-9398-C4986F29EA3C}">
      <dgm:prSet custT="1"/>
      <dgm:spPr/>
      <dgm:t>
        <a:bodyPr/>
        <a:lstStyle/>
        <a:p>
          <a:r>
            <a:rPr lang="zh-CN" altLang="en-US" sz="1200" dirty="0"/>
            <a:t>公有云区域：</a:t>
          </a:r>
          <a:r>
            <a:rPr lang="en-US" altLang="zh-CN" sz="1200" dirty="0"/>
            <a:t>4</a:t>
          </a:r>
        </a:p>
      </dgm:t>
    </dgm:pt>
    <dgm:pt modelId="{1453AAFF-6E65-4F0F-A3AE-C889EF426C54}" type="parTrans" cxnId="{C23F7B09-AD32-4EF6-A034-201AC8874116}">
      <dgm:prSet/>
      <dgm:spPr/>
      <dgm:t>
        <a:bodyPr/>
        <a:lstStyle/>
        <a:p>
          <a:endParaRPr lang="zh-CN" altLang="en-US" sz="2800"/>
        </a:p>
      </dgm:t>
    </dgm:pt>
    <dgm:pt modelId="{D1D1E00E-AF82-4EBA-80A8-B405C950AB4C}" type="sibTrans" cxnId="{C23F7B09-AD32-4EF6-A034-201AC8874116}">
      <dgm:prSet/>
      <dgm:spPr/>
      <dgm:t>
        <a:bodyPr/>
        <a:lstStyle/>
        <a:p>
          <a:endParaRPr lang="zh-CN" altLang="en-US" sz="2800"/>
        </a:p>
      </dgm:t>
    </dgm:pt>
    <dgm:pt modelId="{C020C909-2632-41A7-83D1-78101729601D}">
      <dgm:prSet phldrT="[文本]" custT="1"/>
      <dgm:spPr/>
      <dgm:t>
        <a:bodyPr/>
        <a:lstStyle/>
        <a:p>
          <a:r>
            <a:rPr lang="zh-CN" altLang="en-US" sz="1200" dirty="0"/>
            <a:t>公有云区域：</a:t>
          </a:r>
          <a:r>
            <a:rPr lang="en-US" altLang="zh-CN" sz="1200" dirty="0"/>
            <a:t>2</a:t>
          </a:r>
          <a:endParaRPr lang="zh-CN" altLang="en-US" sz="1200" dirty="0"/>
        </a:p>
      </dgm:t>
    </dgm:pt>
    <dgm:pt modelId="{93D049D0-74B4-40B0-BC94-E5167968EAA2}" type="parTrans" cxnId="{1E62E50F-9F42-496A-9CBF-A3BD630CA2F6}">
      <dgm:prSet/>
      <dgm:spPr/>
      <dgm:t>
        <a:bodyPr/>
        <a:lstStyle/>
        <a:p>
          <a:endParaRPr lang="zh-CN" altLang="en-US" sz="2800"/>
        </a:p>
      </dgm:t>
    </dgm:pt>
    <dgm:pt modelId="{E48FD683-F89C-46CE-B0EA-273FE939B377}" type="sibTrans" cxnId="{1E62E50F-9F42-496A-9CBF-A3BD630CA2F6}">
      <dgm:prSet/>
      <dgm:spPr/>
      <dgm:t>
        <a:bodyPr/>
        <a:lstStyle/>
        <a:p>
          <a:endParaRPr lang="zh-CN" altLang="en-US" sz="2800"/>
        </a:p>
      </dgm:t>
    </dgm:pt>
    <dgm:pt modelId="{B2B60117-0C58-432C-8A35-2D557D0E9258}">
      <dgm:prSet custT="1"/>
      <dgm:spPr/>
      <dgm:t>
        <a:bodyPr/>
        <a:lstStyle/>
        <a:p>
          <a:r>
            <a:rPr lang="zh-CN" altLang="en-US" sz="1200" dirty="0"/>
            <a:t>运维人数：</a:t>
          </a:r>
          <a:r>
            <a:rPr lang="en-US" altLang="zh-CN" sz="1200" dirty="0"/>
            <a:t>13</a:t>
          </a:r>
          <a:r>
            <a:rPr lang="zh-CN" altLang="en-US" sz="1200" dirty="0"/>
            <a:t>人</a:t>
          </a:r>
        </a:p>
      </dgm:t>
    </dgm:pt>
    <dgm:pt modelId="{B141E999-730B-4384-A893-D55F8496BE48}" type="parTrans" cxnId="{1E5EFD15-6F33-4BD7-BCB8-6D239B3B165D}">
      <dgm:prSet/>
      <dgm:spPr/>
      <dgm:t>
        <a:bodyPr/>
        <a:lstStyle/>
        <a:p>
          <a:endParaRPr lang="zh-CN" altLang="en-US" sz="2800"/>
        </a:p>
      </dgm:t>
    </dgm:pt>
    <dgm:pt modelId="{A3D1D342-435A-44DC-A424-F17231500C61}" type="sibTrans" cxnId="{1E5EFD15-6F33-4BD7-BCB8-6D239B3B165D}">
      <dgm:prSet/>
      <dgm:spPr/>
      <dgm:t>
        <a:bodyPr/>
        <a:lstStyle/>
        <a:p>
          <a:endParaRPr lang="zh-CN" altLang="en-US" sz="2800"/>
        </a:p>
      </dgm:t>
    </dgm:pt>
    <dgm:pt modelId="{4E475A66-238F-4E53-B865-977EA90B0858}">
      <dgm:prSet custT="1"/>
      <dgm:spPr/>
      <dgm:t>
        <a:bodyPr/>
        <a:lstStyle/>
        <a:p>
          <a:r>
            <a:rPr lang="zh-CN" altLang="en-US" sz="1200" dirty="0"/>
            <a:t>物理服务器：</a:t>
          </a:r>
          <a:r>
            <a:rPr lang="en-US" altLang="zh-CN" sz="1200" dirty="0"/>
            <a:t>800+</a:t>
          </a:r>
          <a:endParaRPr lang="zh-CN" altLang="en-US" sz="1200" dirty="0"/>
        </a:p>
      </dgm:t>
    </dgm:pt>
    <dgm:pt modelId="{E62B8333-4F4D-4E8F-8912-AFA5C76EC7E6}" type="parTrans" cxnId="{A71831A5-1104-412E-B34A-AB631B1D1E61}">
      <dgm:prSet/>
      <dgm:spPr/>
      <dgm:t>
        <a:bodyPr/>
        <a:lstStyle/>
        <a:p>
          <a:endParaRPr lang="zh-CN" altLang="en-US" sz="2800"/>
        </a:p>
      </dgm:t>
    </dgm:pt>
    <dgm:pt modelId="{52DC074A-E869-410F-95F3-A7B7A4A83BFA}" type="sibTrans" cxnId="{A71831A5-1104-412E-B34A-AB631B1D1E61}">
      <dgm:prSet/>
      <dgm:spPr/>
      <dgm:t>
        <a:bodyPr/>
        <a:lstStyle/>
        <a:p>
          <a:endParaRPr lang="zh-CN" altLang="en-US" sz="2800"/>
        </a:p>
      </dgm:t>
    </dgm:pt>
    <dgm:pt modelId="{28B3FCFA-A362-411F-82C0-BD6852B05F66}">
      <dgm:prSet custT="1"/>
      <dgm:spPr/>
      <dgm:t>
        <a:bodyPr/>
        <a:lstStyle/>
        <a:p>
          <a:r>
            <a:rPr lang="en-US" altLang="zh-CN" sz="1200" dirty="0"/>
            <a:t>IDC</a:t>
          </a:r>
          <a:r>
            <a:rPr lang="zh-CN" altLang="en-US" sz="1200" dirty="0"/>
            <a:t>数量：</a:t>
          </a:r>
          <a:r>
            <a:rPr lang="en-US" altLang="zh-CN" sz="1200" dirty="0"/>
            <a:t>10</a:t>
          </a:r>
          <a:endParaRPr lang="zh-CN" altLang="en-US" sz="1200" dirty="0"/>
        </a:p>
      </dgm:t>
    </dgm:pt>
    <dgm:pt modelId="{6BCB99F3-3E03-4A0B-9F4A-8E8A7DAAE339}" type="parTrans" cxnId="{B20C1016-67BA-43A9-8CB6-CFDDE76135CC}">
      <dgm:prSet/>
      <dgm:spPr/>
      <dgm:t>
        <a:bodyPr/>
        <a:lstStyle/>
        <a:p>
          <a:endParaRPr lang="zh-CN" altLang="en-US" sz="2800"/>
        </a:p>
      </dgm:t>
    </dgm:pt>
    <dgm:pt modelId="{161263C9-D311-414D-B9D0-C4BCBE9EAEDD}" type="sibTrans" cxnId="{B20C1016-67BA-43A9-8CB6-CFDDE76135CC}">
      <dgm:prSet/>
      <dgm:spPr/>
      <dgm:t>
        <a:bodyPr/>
        <a:lstStyle/>
        <a:p>
          <a:endParaRPr lang="zh-CN" altLang="en-US" sz="2800"/>
        </a:p>
      </dgm:t>
    </dgm:pt>
    <dgm:pt modelId="{9D044365-B10A-4719-82BA-922260FFDA14}">
      <dgm:prSet custT="1"/>
      <dgm:spPr/>
      <dgm:t>
        <a:bodyPr/>
        <a:lstStyle/>
        <a:p>
          <a:r>
            <a:rPr lang="zh-CN" altLang="en-US" sz="1200" dirty="0"/>
            <a:t>公有云区域：</a:t>
          </a:r>
          <a:r>
            <a:rPr lang="en-US" altLang="zh-CN" sz="1200" dirty="0"/>
            <a:t>5</a:t>
          </a:r>
          <a:endParaRPr lang="zh-CN" altLang="en-US" sz="1200" dirty="0"/>
        </a:p>
      </dgm:t>
    </dgm:pt>
    <dgm:pt modelId="{0A768B46-D312-4840-83BD-D5C2A2E36F3C}" type="parTrans" cxnId="{A38ACF7C-6173-487A-91FF-0B68EF999136}">
      <dgm:prSet/>
      <dgm:spPr/>
      <dgm:t>
        <a:bodyPr/>
        <a:lstStyle/>
        <a:p>
          <a:endParaRPr lang="zh-CN" altLang="en-US" sz="2800"/>
        </a:p>
      </dgm:t>
    </dgm:pt>
    <dgm:pt modelId="{44BA0276-E2E1-4D09-89E4-E45BDA2EA195}" type="sibTrans" cxnId="{A38ACF7C-6173-487A-91FF-0B68EF999136}">
      <dgm:prSet/>
      <dgm:spPr/>
      <dgm:t>
        <a:bodyPr/>
        <a:lstStyle/>
        <a:p>
          <a:endParaRPr lang="zh-CN" altLang="en-US" sz="2800"/>
        </a:p>
      </dgm:t>
    </dgm:pt>
    <dgm:pt modelId="{71F68107-2A6E-48B6-90DE-4CF985100638}">
      <dgm:prSet custT="1"/>
      <dgm:spPr/>
      <dgm:t>
        <a:bodyPr/>
        <a:lstStyle/>
        <a:p>
          <a:r>
            <a:rPr lang="zh-CN" altLang="en-US" sz="1200" dirty="0"/>
            <a:t>运维方式：</a:t>
          </a:r>
          <a:r>
            <a:rPr lang="en-US" altLang="zh-CN" sz="1200" dirty="0"/>
            <a:t>Titan</a:t>
          </a:r>
          <a:r>
            <a:rPr lang="zh-CN" altLang="en-US" sz="1200" dirty="0"/>
            <a:t>管理平台</a:t>
          </a:r>
        </a:p>
      </dgm:t>
    </dgm:pt>
    <dgm:pt modelId="{23BB2AA1-CD66-475B-B576-657B084ED80E}" type="parTrans" cxnId="{7D24321B-E435-45E8-885C-21469A7CF47F}">
      <dgm:prSet/>
      <dgm:spPr/>
      <dgm:t>
        <a:bodyPr/>
        <a:lstStyle/>
        <a:p>
          <a:endParaRPr lang="zh-CN" altLang="en-US" sz="2800"/>
        </a:p>
      </dgm:t>
    </dgm:pt>
    <dgm:pt modelId="{CD072817-B1DA-48B5-81D9-DF410C286EF2}" type="sibTrans" cxnId="{7D24321B-E435-45E8-885C-21469A7CF47F}">
      <dgm:prSet/>
      <dgm:spPr/>
      <dgm:t>
        <a:bodyPr/>
        <a:lstStyle/>
        <a:p>
          <a:endParaRPr lang="zh-CN" altLang="en-US" sz="2800"/>
        </a:p>
      </dgm:t>
    </dgm:pt>
    <dgm:pt modelId="{8C02A307-5D0B-40D1-8232-A97116B407E5}">
      <dgm:prSet custT="1"/>
      <dgm:spPr/>
      <dgm:t>
        <a:bodyPr/>
        <a:lstStyle/>
        <a:p>
          <a:endParaRPr lang="zh-CN" altLang="en-US" sz="1200" dirty="0"/>
        </a:p>
      </dgm:t>
    </dgm:pt>
    <dgm:pt modelId="{47C3D199-696A-46E3-B405-7884CC86A38B}" type="parTrans" cxnId="{74D4F702-64EF-4A60-8B3F-8DD15E3D5D65}">
      <dgm:prSet/>
      <dgm:spPr/>
      <dgm:t>
        <a:bodyPr/>
        <a:lstStyle/>
        <a:p>
          <a:endParaRPr lang="zh-CN" altLang="en-US" sz="2800"/>
        </a:p>
      </dgm:t>
    </dgm:pt>
    <dgm:pt modelId="{56D64B9B-0D1B-4D3A-80ED-8B123CBF467D}" type="sibTrans" cxnId="{74D4F702-64EF-4A60-8B3F-8DD15E3D5D65}">
      <dgm:prSet/>
      <dgm:spPr/>
      <dgm:t>
        <a:bodyPr/>
        <a:lstStyle/>
        <a:p>
          <a:endParaRPr lang="zh-CN" altLang="en-US" sz="2800"/>
        </a:p>
      </dgm:t>
    </dgm:pt>
    <dgm:pt modelId="{D3AF1B95-4E6E-4813-B7D8-ECB811FF9B11}">
      <dgm:prSet custT="1"/>
      <dgm:spPr/>
      <dgm:t>
        <a:bodyPr/>
        <a:lstStyle/>
        <a:p>
          <a:r>
            <a:rPr lang="zh-CN" altLang="en-US" sz="1200" dirty="0"/>
            <a:t>业务峰值</a:t>
          </a:r>
          <a:r>
            <a:rPr lang="en-US" altLang="zh-CN" sz="1200" dirty="0"/>
            <a:t>QPS</a:t>
          </a:r>
          <a:r>
            <a:rPr lang="zh-CN" altLang="en-US" sz="1200" dirty="0"/>
            <a:t>：</a:t>
          </a:r>
          <a:r>
            <a:rPr lang="en-US" altLang="zh-CN" sz="1200" dirty="0"/>
            <a:t>45</a:t>
          </a:r>
          <a:r>
            <a:rPr lang="zh-CN" altLang="en-US" sz="1200" dirty="0"/>
            <a:t>万</a:t>
          </a:r>
          <a:r>
            <a:rPr lang="en-US" altLang="zh-CN" sz="1200" dirty="0"/>
            <a:t>/s</a:t>
          </a:r>
          <a:endParaRPr lang="zh-CN" altLang="en-US" sz="1200" dirty="0"/>
        </a:p>
      </dgm:t>
    </dgm:pt>
    <dgm:pt modelId="{AB86E98E-DA05-4FCA-BD1E-B1430AA6987E}" type="parTrans" cxnId="{0CEEA5F1-7C97-49CB-82C0-5E40D9B91892}">
      <dgm:prSet/>
      <dgm:spPr/>
      <dgm:t>
        <a:bodyPr/>
        <a:lstStyle/>
        <a:p>
          <a:endParaRPr lang="zh-CN" altLang="en-US" sz="2800"/>
        </a:p>
      </dgm:t>
    </dgm:pt>
    <dgm:pt modelId="{C9767C93-EAE6-4E6D-ADFC-1306CA29F24A}" type="sibTrans" cxnId="{0CEEA5F1-7C97-49CB-82C0-5E40D9B91892}">
      <dgm:prSet/>
      <dgm:spPr/>
      <dgm:t>
        <a:bodyPr/>
        <a:lstStyle/>
        <a:p>
          <a:endParaRPr lang="zh-CN" altLang="en-US" sz="2800"/>
        </a:p>
      </dgm:t>
    </dgm:pt>
    <dgm:pt modelId="{97F85C57-7D41-46DB-AB35-C3BA3636A26D}">
      <dgm:prSet custT="1"/>
      <dgm:spPr/>
      <dgm:t>
        <a:bodyPr/>
        <a:lstStyle/>
        <a:p>
          <a:r>
            <a:rPr lang="zh-CN" altLang="en-US" sz="1200" dirty="0"/>
            <a:t>业务</a:t>
          </a:r>
          <a:r>
            <a:rPr lang="en-US" altLang="zh-CN" sz="1200" dirty="0"/>
            <a:t>PV</a:t>
          </a:r>
          <a:r>
            <a:rPr lang="zh-CN" altLang="en-US" sz="1200" dirty="0"/>
            <a:t>：</a:t>
          </a:r>
          <a:r>
            <a:rPr lang="en-US" altLang="zh-CN" sz="1200" dirty="0"/>
            <a:t>230</a:t>
          </a:r>
          <a:r>
            <a:rPr lang="zh-CN" altLang="en-US" sz="1200" dirty="0"/>
            <a:t>亿</a:t>
          </a:r>
        </a:p>
      </dgm:t>
    </dgm:pt>
    <dgm:pt modelId="{DCF631BF-66B3-408C-8271-28445A1FD391}" type="parTrans" cxnId="{F47A973B-1FCB-489C-9CF1-85B31DF6C8A3}">
      <dgm:prSet/>
      <dgm:spPr/>
      <dgm:t>
        <a:bodyPr/>
        <a:lstStyle/>
        <a:p>
          <a:endParaRPr lang="zh-CN" altLang="en-US" sz="2800"/>
        </a:p>
      </dgm:t>
    </dgm:pt>
    <dgm:pt modelId="{52CA7515-377D-47D4-8CA2-8186383A8913}" type="sibTrans" cxnId="{F47A973B-1FCB-489C-9CF1-85B31DF6C8A3}">
      <dgm:prSet/>
      <dgm:spPr/>
      <dgm:t>
        <a:bodyPr/>
        <a:lstStyle/>
        <a:p>
          <a:endParaRPr lang="zh-CN" altLang="en-US" sz="2800"/>
        </a:p>
      </dgm:t>
    </dgm:pt>
    <dgm:pt modelId="{EACC72FD-1378-4138-8A29-5B77AFE41A88}" type="pres">
      <dgm:prSet presAssocID="{66A64B05-B62B-4518-A38B-6BD69054DAA5}" presName="rootnode" presStyleCnt="0">
        <dgm:presLayoutVars>
          <dgm:chMax/>
          <dgm:chPref/>
          <dgm:dir/>
          <dgm:animLvl val="lvl"/>
        </dgm:presLayoutVars>
      </dgm:prSet>
      <dgm:spPr/>
    </dgm:pt>
    <dgm:pt modelId="{653AE36C-10BF-4D19-B110-23EE7948DC6F}" type="pres">
      <dgm:prSet presAssocID="{6675F492-1955-40F1-98D4-D4002E0F55E5}" presName="composite" presStyleCnt="0"/>
      <dgm:spPr/>
    </dgm:pt>
    <dgm:pt modelId="{61987052-483B-4092-91E9-A55B11DAE1F4}" type="pres">
      <dgm:prSet presAssocID="{6675F492-1955-40F1-98D4-D4002E0F55E5}" presName="LShape" presStyleLbl="alignNode1" presStyleIdx="0" presStyleCnt="7"/>
      <dgm:spPr/>
    </dgm:pt>
    <dgm:pt modelId="{4519B631-4337-427A-84DD-ACABFE39EF12}" type="pres">
      <dgm:prSet presAssocID="{6675F492-1955-40F1-98D4-D4002E0F55E5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4305594F-356D-4A39-B90D-FA7A5F63A8E7}" type="pres">
      <dgm:prSet presAssocID="{6675F492-1955-40F1-98D4-D4002E0F55E5}" presName="Triangle" presStyleLbl="alignNode1" presStyleIdx="1" presStyleCnt="7"/>
      <dgm:spPr/>
    </dgm:pt>
    <dgm:pt modelId="{E12FF242-6110-4616-B05A-07FB45B7FA40}" type="pres">
      <dgm:prSet presAssocID="{74202201-14CA-451E-B954-F5F56FEF6E4A}" presName="sibTrans" presStyleCnt="0"/>
      <dgm:spPr/>
    </dgm:pt>
    <dgm:pt modelId="{C48DA5A2-F23C-437F-8639-4E2E7935C2F8}" type="pres">
      <dgm:prSet presAssocID="{74202201-14CA-451E-B954-F5F56FEF6E4A}" presName="space" presStyleCnt="0"/>
      <dgm:spPr/>
    </dgm:pt>
    <dgm:pt modelId="{8798D91C-5E51-43AB-944C-A742AB4BEC50}" type="pres">
      <dgm:prSet presAssocID="{39F93F68-81B7-400C-904D-B8D899DBB516}" presName="composite" presStyleCnt="0"/>
      <dgm:spPr/>
    </dgm:pt>
    <dgm:pt modelId="{489F267D-75C8-40FA-B937-F3900A703E19}" type="pres">
      <dgm:prSet presAssocID="{39F93F68-81B7-400C-904D-B8D899DBB516}" presName="LShape" presStyleLbl="alignNode1" presStyleIdx="2" presStyleCnt="7"/>
      <dgm:spPr/>
    </dgm:pt>
    <dgm:pt modelId="{8932480E-1B1F-46BD-A0AF-578A091E73D6}" type="pres">
      <dgm:prSet presAssocID="{39F93F68-81B7-400C-904D-B8D899DBB516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BA1AA3DF-49B0-4B90-B7C1-E7B2952DEBB9}" type="pres">
      <dgm:prSet presAssocID="{39F93F68-81B7-400C-904D-B8D899DBB516}" presName="Triangle" presStyleLbl="alignNode1" presStyleIdx="3" presStyleCnt="7"/>
      <dgm:spPr/>
    </dgm:pt>
    <dgm:pt modelId="{F71F1D24-8983-43CE-B63A-21DABA319E90}" type="pres">
      <dgm:prSet presAssocID="{F902DCB2-FD34-4F5D-ACB0-1A2D1E00BB64}" presName="sibTrans" presStyleCnt="0"/>
      <dgm:spPr/>
    </dgm:pt>
    <dgm:pt modelId="{54312EFA-4D35-4E08-801E-CA9B616FA9D2}" type="pres">
      <dgm:prSet presAssocID="{F902DCB2-FD34-4F5D-ACB0-1A2D1E00BB64}" presName="space" presStyleCnt="0"/>
      <dgm:spPr/>
    </dgm:pt>
    <dgm:pt modelId="{A2E340AD-4AD8-43A9-8E40-56A994F4B3CD}" type="pres">
      <dgm:prSet presAssocID="{0CBF9641-DA49-49C6-8D6F-87EE99C60342}" presName="composite" presStyleCnt="0"/>
      <dgm:spPr/>
    </dgm:pt>
    <dgm:pt modelId="{24FEB0FB-82B9-48BA-89CA-CEC6258C5C40}" type="pres">
      <dgm:prSet presAssocID="{0CBF9641-DA49-49C6-8D6F-87EE99C60342}" presName="LShape" presStyleLbl="alignNode1" presStyleIdx="4" presStyleCnt="7"/>
      <dgm:spPr/>
    </dgm:pt>
    <dgm:pt modelId="{0D8B7C01-8225-42FD-A1F3-104A62910E59}" type="pres">
      <dgm:prSet presAssocID="{0CBF9641-DA49-49C6-8D6F-87EE99C60342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4524B41B-53B9-4AC9-95A8-BB4830713B2F}" type="pres">
      <dgm:prSet presAssocID="{0CBF9641-DA49-49C6-8D6F-87EE99C60342}" presName="Triangle" presStyleLbl="alignNode1" presStyleIdx="5" presStyleCnt="7"/>
      <dgm:spPr/>
    </dgm:pt>
    <dgm:pt modelId="{75CFE350-A483-4257-BE4C-5417FDBB88F1}" type="pres">
      <dgm:prSet presAssocID="{C9513DA7-A81E-48D4-AD97-4DE4E33BBAA5}" presName="sibTrans" presStyleCnt="0"/>
      <dgm:spPr/>
    </dgm:pt>
    <dgm:pt modelId="{8C147D4F-353D-4CA5-A4B1-1B8325D51D24}" type="pres">
      <dgm:prSet presAssocID="{C9513DA7-A81E-48D4-AD97-4DE4E33BBAA5}" presName="space" presStyleCnt="0"/>
      <dgm:spPr/>
    </dgm:pt>
    <dgm:pt modelId="{3B0EF7C2-C59A-49E2-AB88-7A675ACA0BDF}" type="pres">
      <dgm:prSet presAssocID="{955AB32F-83B5-4F9B-A7DD-789F69076553}" presName="composite" presStyleCnt="0"/>
      <dgm:spPr/>
    </dgm:pt>
    <dgm:pt modelId="{EC9A6425-E483-4D95-8888-3E8608F59DF0}" type="pres">
      <dgm:prSet presAssocID="{955AB32F-83B5-4F9B-A7DD-789F69076553}" presName="LShape" presStyleLbl="alignNode1" presStyleIdx="6" presStyleCnt="7"/>
      <dgm:spPr/>
    </dgm:pt>
    <dgm:pt modelId="{B817B3BA-1C4A-4943-87E2-4224136D1688}" type="pres">
      <dgm:prSet presAssocID="{955AB32F-83B5-4F9B-A7DD-789F69076553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74D4F702-64EF-4A60-8B3F-8DD15E3D5D65}" srcId="{955AB32F-83B5-4F9B-A7DD-789F69076553}" destId="{8C02A307-5D0B-40D1-8232-A97116B407E5}" srcOrd="7" destOrd="0" parTransId="{47C3D199-696A-46E3-B405-7884CC86A38B}" sibTransId="{56D64B9B-0D1B-4D3A-80ED-8B123CBF467D}"/>
    <dgm:cxn modelId="{E2238804-44AD-4AFF-B77B-001EC8C049A0}" type="presOf" srcId="{4C660A23-7213-427B-B7AB-A69A7DDF2107}" destId="{0D8B7C01-8225-42FD-A1F3-104A62910E59}" srcOrd="0" destOrd="6" presId="urn:microsoft.com/office/officeart/2009/3/layout/StepUpProcess"/>
    <dgm:cxn modelId="{567B7A06-84F0-4118-B42F-9093D1D9BDB4}" srcId="{0CBF9641-DA49-49C6-8D6F-87EE99C60342}" destId="{22635625-5988-4E6C-8EA0-26C1BD5B0D45}" srcOrd="1" destOrd="0" parTransId="{708575BF-A81F-4428-B28F-BC1AFEB7BB4E}" sibTransId="{4DC2ED9A-3058-4F76-8586-DFF56B8838C1}"/>
    <dgm:cxn modelId="{C23F7B09-AD32-4EF6-A034-201AC8874116}" srcId="{0CBF9641-DA49-49C6-8D6F-87EE99C60342}" destId="{E0DAB5AF-DD57-4AF0-9398-C4986F29EA3C}" srcOrd="3" destOrd="0" parTransId="{1453AAFF-6E65-4F0F-A3AE-C889EF426C54}" sibTransId="{D1D1E00E-AF82-4EBA-80A8-B405C950AB4C}"/>
    <dgm:cxn modelId="{1E62E50F-9F42-496A-9CBF-A3BD630CA2F6}" srcId="{39F93F68-81B7-400C-904D-B8D899DBB516}" destId="{C020C909-2632-41A7-83D1-78101729601D}" srcOrd="3" destOrd="0" parTransId="{93D049D0-74B4-40B0-BC94-E5167968EAA2}" sibTransId="{E48FD683-F89C-46CE-B0EA-273FE939B377}"/>
    <dgm:cxn modelId="{50351C11-1BD2-4F07-9B07-177ECFD45EBF}" type="presOf" srcId="{9D044365-B10A-4719-82BA-922260FFDA14}" destId="{B817B3BA-1C4A-4943-87E2-4224136D1688}" srcOrd="0" destOrd="4" presId="urn:microsoft.com/office/officeart/2009/3/layout/StepUpProcess"/>
    <dgm:cxn modelId="{225D8C12-399E-42AC-B1B7-D8CDA6CD04F3}" type="presOf" srcId="{28B3FCFA-A362-411F-82C0-BD6852B05F66}" destId="{B817B3BA-1C4A-4943-87E2-4224136D1688}" srcOrd="0" destOrd="3" presId="urn:microsoft.com/office/officeart/2009/3/layout/StepUpProcess"/>
    <dgm:cxn modelId="{1E5EFD15-6F33-4BD7-BCB8-6D239B3B165D}" srcId="{955AB32F-83B5-4F9B-A7DD-789F69076553}" destId="{B2B60117-0C58-432C-8A35-2D557D0E9258}" srcOrd="0" destOrd="0" parTransId="{B141E999-730B-4384-A893-D55F8496BE48}" sibTransId="{A3D1D342-435A-44DC-A424-F17231500C61}"/>
    <dgm:cxn modelId="{B20C1016-67BA-43A9-8CB6-CFDDE76135CC}" srcId="{955AB32F-83B5-4F9B-A7DD-789F69076553}" destId="{28B3FCFA-A362-411F-82C0-BD6852B05F66}" srcOrd="2" destOrd="0" parTransId="{6BCB99F3-3E03-4A0B-9F4A-8E8A7DAAE339}" sibTransId="{161263C9-D311-414D-B9D0-C4BCBE9EAEDD}"/>
    <dgm:cxn modelId="{14CC4A16-C235-42BF-896D-AE71B1A1C25B}" srcId="{0CBF9641-DA49-49C6-8D6F-87EE99C60342}" destId="{FCD89EC8-2A4F-4125-8D6B-11C195A9C145}" srcOrd="2" destOrd="0" parTransId="{B8D61BC5-B2CD-42C1-B361-1D711098628B}" sibTransId="{AF9FA019-C596-48A4-A5F5-17407F89161B}"/>
    <dgm:cxn modelId="{7D24321B-E435-45E8-885C-21469A7CF47F}" srcId="{955AB32F-83B5-4F9B-A7DD-789F69076553}" destId="{71F68107-2A6E-48B6-90DE-4CF985100638}" srcOrd="4" destOrd="0" parTransId="{23BB2AA1-CD66-475B-B576-657B084ED80E}" sibTransId="{CD072817-B1DA-48B5-81D9-DF410C286EF2}"/>
    <dgm:cxn modelId="{123AF622-34C7-492F-A424-E8E542BA8AD8}" srcId="{39F93F68-81B7-400C-904D-B8D899DBB516}" destId="{0C34A795-42CE-4C25-8457-225CAA86A6D4}" srcOrd="0" destOrd="0" parTransId="{236B398B-4B75-4123-A019-C9779D249E99}" sibTransId="{DBF28967-5C66-4730-8D92-3114D7CB66F8}"/>
    <dgm:cxn modelId="{D595AA2E-F03C-4E31-B046-C5211A3814D5}" type="presOf" srcId="{4E475A66-238F-4E53-B865-977EA90B0858}" destId="{B817B3BA-1C4A-4943-87E2-4224136D1688}" srcOrd="0" destOrd="2" presId="urn:microsoft.com/office/officeart/2009/3/layout/StepUpProcess"/>
    <dgm:cxn modelId="{4905B233-7BAC-4F71-89AD-7CAAA9AFEAA1}" srcId="{6675F492-1955-40F1-98D4-D4002E0F55E5}" destId="{87A38FB9-FB03-4A51-ACCC-B90E59C24BE1}" srcOrd="5" destOrd="0" parTransId="{E2777DD8-B6DA-446C-BBCC-145527B8F3A5}" sibTransId="{AC409E83-AD43-49C6-8F8F-6E783307B6D8}"/>
    <dgm:cxn modelId="{578D0138-E915-49FD-8919-E38D36F0B598}" srcId="{66A64B05-B62B-4518-A38B-6BD69054DAA5}" destId="{955AB32F-83B5-4F9B-A7DD-789F69076553}" srcOrd="3" destOrd="0" parTransId="{35400AAF-2B4C-416A-95ED-57D6B8808AB8}" sibTransId="{5F17E030-4F24-4ECB-9B0E-52E854863E30}"/>
    <dgm:cxn modelId="{F47A973B-1FCB-489C-9CF1-85B31DF6C8A3}" srcId="{955AB32F-83B5-4F9B-A7DD-789F69076553}" destId="{97F85C57-7D41-46DB-AB35-C3BA3636A26D}" srcOrd="6" destOrd="0" parTransId="{DCF631BF-66B3-408C-8271-28445A1FD391}" sibTransId="{52CA7515-377D-47D4-8CA2-8186383A8913}"/>
    <dgm:cxn modelId="{6BE7AB5B-DE5C-4911-A51D-F20AFABEE163}" type="presOf" srcId="{66A64B05-B62B-4518-A38B-6BD69054DAA5}" destId="{EACC72FD-1378-4138-8A29-5B77AFE41A88}" srcOrd="0" destOrd="0" presId="urn:microsoft.com/office/officeart/2009/3/layout/StepUpProcess"/>
    <dgm:cxn modelId="{129FBC41-B1EA-4029-811B-B39FE591D0F1}" type="presOf" srcId="{956466B7-6E8D-48BB-A8D1-E8CD7D25A03C}" destId="{4519B631-4337-427A-84DD-ACABFE39EF12}" srcOrd="0" destOrd="4" presId="urn:microsoft.com/office/officeart/2009/3/layout/StepUpProcess"/>
    <dgm:cxn modelId="{7DFA7A62-56B3-4237-BB23-81CF7E524436}" srcId="{6675F492-1955-40F1-98D4-D4002E0F55E5}" destId="{956466B7-6E8D-48BB-A8D1-E8CD7D25A03C}" srcOrd="3" destOrd="0" parTransId="{E4D5A6BD-DB6A-49E0-BD25-64AB8282B6DC}" sibTransId="{716790BF-4C90-4BF8-B58B-B88BB232B1AB}"/>
    <dgm:cxn modelId="{BF4B2143-D14B-44A8-A9FB-B09BD1B19735}" srcId="{6675F492-1955-40F1-98D4-D4002E0F55E5}" destId="{38F95337-7841-41C3-8CF4-C67FAD80E2C4}" srcOrd="1" destOrd="0" parTransId="{7BB901DC-50F3-4DF0-9D05-04B7C32BF354}" sibTransId="{10F0A4A4-C0F0-47B6-AC32-E28B1002B42B}"/>
    <dgm:cxn modelId="{5FEB5C64-8B50-474C-BCEF-1E9884E870CC}" type="presOf" srcId="{87A38FB9-FB03-4A51-ACCC-B90E59C24BE1}" destId="{4519B631-4337-427A-84DD-ACABFE39EF12}" srcOrd="0" destOrd="6" presId="urn:microsoft.com/office/officeart/2009/3/layout/StepUpProcess"/>
    <dgm:cxn modelId="{33260266-CABF-47FF-B4B9-97B4018BACDE}" type="presOf" srcId="{D3AF1B95-4E6E-4813-B7D8-ECB811FF9B11}" destId="{B817B3BA-1C4A-4943-87E2-4224136D1688}" srcOrd="0" destOrd="6" presId="urn:microsoft.com/office/officeart/2009/3/layout/StepUpProcess"/>
    <dgm:cxn modelId="{56DB564A-8434-4AB4-B489-764DBE35618A}" srcId="{6675F492-1955-40F1-98D4-D4002E0F55E5}" destId="{96BB8EC4-F090-41A5-B58A-708C01C2E697}" srcOrd="4" destOrd="0" parTransId="{4432E199-1F61-4A80-BDB1-3941213BC7B7}" sibTransId="{B49578B5-A09B-40BB-AB7A-055F455BBE58}"/>
    <dgm:cxn modelId="{FE15BB6C-AA42-4F49-97B9-30179D63F5CE}" type="presOf" srcId="{DBFD8487-AE39-45AB-92B7-297F6B55C12B}" destId="{4519B631-4337-427A-84DD-ACABFE39EF12}" srcOrd="0" destOrd="3" presId="urn:microsoft.com/office/officeart/2009/3/layout/StepUpProcess"/>
    <dgm:cxn modelId="{9FA2BE4D-4358-46FE-8F85-9E2957C75BCA}" type="presOf" srcId="{4C2B8FCF-029F-413F-90BA-C31DDAEEBB3E}" destId="{8932480E-1B1F-46BD-A0AF-578A091E73D6}" srcOrd="0" destOrd="5" presId="urn:microsoft.com/office/officeart/2009/3/layout/StepUpProcess"/>
    <dgm:cxn modelId="{A8571770-FF2F-4C9C-8214-A5BAD298EBCD}" type="presOf" srcId="{B2B60117-0C58-432C-8A35-2D557D0E9258}" destId="{B817B3BA-1C4A-4943-87E2-4224136D1688}" srcOrd="0" destOrd="1" presId="urn:microsoft.com/office/officeart/2009/3/layout/StepUpProcess"/>
    <dgm:cxn modelId="{F339A750-D553-42D5-AAC7-2765EFD0FB68}" type="presOf" srcId="{22635625-5988-4E6C-8EA0-26C1BD5B0D45}" destId="{0D8B7C01-8225-42FD-A1F3-104A62910E59}" srcOrd="0" destOrd="2" presId="urn:microsoft.com/office/officeart/2009/3/layout/StepUpProcess"/>
    <dgm:cxn modelId="{9FCBC350-8629-47DC-AC9C-A2048D905855}" srcId="{0CBF9641-DA49-49C6-8D6F-87EE99C60342}" destId="{00EE17BC-03D3-4F72-B9F3-05175D20C0CC}" srcOrd="6" destOrd="0" parTransId="{3B784B67-0748-458B-B96A-9F48683F59BF}" sibTransId="{FEEC5480-9EF3-4E86-85C2-AC2EBADC3E63}"/>
    <dgm:cxn modelId="{2C403355-27DF-42C6-8556-7EB5F4C3ACA2}" type="presOf" srcId="{FCD89EC8-2A4F-4125-8D6B-11C195A9C145}" destId="{0D8B7C01-8225-42FD-A1F3-104A62910E59}" srcOrd="0" destOrd="3" presId="urn:microsoft.com/office/officeart/2009/3/layout/StepUpProcess"/>
    <dgm:cxn modelId="{11B4AC76-5E22-4B9A-81BB-77F2F0D958D6}" srcId="{6675F492-1955-40F1-98D4-D4002E0F55E5}" destId="{7EF40FBB-4A54-4677-8147-6893B2512223}" srcOrd="0" destOrd="0" parTransId="{B339F2C4-16BF-48A0-BA9B-287A4C179A43}" sibTransId="{B09CC002-86CE-49F7-84E0-D988DD3A3636}"/>
    <dgm:cxn modelId="{F9EC5157-17DF-4021-9D91-3C48C535136F}" type="presOf" srcId="{C020C909-2632-41A7-83D1-78101729601D}" destId="{8932480E-1B1F-46BD-A0AF-578A091E73D6}" srcOrd="0" destOrd="4" presId="urn:microsoft.com/office/officeart/2009/3/layout/StepUpProcess"/>
    <dgm:cxn modelId="{CE426958-1EB6-4EB4-9696-C4D6A0AA55F2}" srcId="{39F93F68-81B7-400C-904D-B8D899DBB516}" destId="{A41055BD-79DC-4B38-ABE5-B515CB6FEE29}" srcOrd="2" destOrd="0" parTransId="{05FDA5FE-393C-4DA1-9285-2003295D2534}" sibTransId="{AB16B943-C24D-48A0-B189-2172B91020A2}"/>
    <dgm:cxn modelId="{A38ACF7C-6173-487A-91FF-0B68EF999136}" srcId="{955AB32F-83B5-4F9B-A7DD-789F69076553}" destId="{9D044365-B10A-4719-82BA-922260FFDA14}" srcOrd="3" destOrd="0" parTransId="{0A768B46-D312-4840-83BD-D5C2A2E36F3C}" sibTransId="{44BA0276-E2E1-4D09-89E4-E45BDA2EA195}"/>
    <dgm:cxn modelId="{DCAFF083-7876-4A2B-AB73-E67130901D67}" type="presOf" srcId="{38F95337-7841-41C3-8CF4-C67FAD80E2C4}" destId="{4519B631-4337-427A-84DD-ACABFE39EF12}" srcOrd="0" destOrd="2" presId="urn:microsoft.com/office/officeart/2009/3/layout/StepUpProcess"/>
    <dgm:cxn modelId="{35C57386-0017-4079-901D-921D2DAE2E2C}" srcId="{39F93F68-81B7-400C-904D-B8D899DBB516}" destId="{7191C1C4-E233-4B2B-9F44-F51A5812BFDF}" srcOrd="1" destOrd="0" parTransId="{7E03FDB3-2DD3-4D57-8433-7F019208CE1D}" sibTransId="{1773A773-7B1B-442B-8044-2CC4941A45E2}"/>
    <dgm:cxn modelId="{25A42789-4455-408B-B797-430A9B5DEAF3}" type="presOf" srcId="{8C02A307-5D0B-40D1-8232-A97116B407E5}" destId="{B817B3BA-1C4A-4943-87E2-4224136D1688}" srcOrd="0" destOrd="8" presId="urn:microsoft.com/office/officeart/2009/3/layout/StepUpProcess"/>
    <dgm:cxn modelId="{5BD9B38C-9793-4290-AD81-DC2997BF39B6}" srcId="{0CBF9641-DA49-49C6-8D6F-87EE99C60342}" destId="{A9ABCD4D-467D-4EB8-97F3-330544323562}" srcOrd="4" destOrd="0" parTransId="{0717A320-E5B4-4644-8DC8-14EA8C1ABCF1}" sibTransId="{4B32BABF-A9A3-426A-B854-D3D27E64B0EE}"/>
    <dgm:cxn modelId="{B629F78D-4EAF-4757-9D8D-CFB11FF74B3B}" srcId="{66A64B05-B62B-4518-A38B-6BD69054DAA5}" destId="{0CBF9641-DA49-49C6-8D6F-87EE99C60342}" srcOrd="2" destOrd="0" parTransId="{2462A7A6-2D39-4828-8976-D11AFF1E1524}" sibTransId="{C9513DA7-A81E-48D4-AD97-4DE4E33BBAA5}"/>
    <dgm:cxn modelId="{42A60697-EC37-4137-AB1F-9F613A451639}" type="presOf" srcId="{E81165A0-D322-47AE-BEE6-DA338D46F7AE}" destId="{0D8B7C01-8225-42FD-A1F3-104A62910E59}" srcOrd="0" destOrd="1" presId="urn:microsoft.com/office/officeart/2009/3/layout/StepUpProcess"/>
    <dgm:cxn modelId="{0935819F-ECD4-4AC4-AE4B-F98B8BC9EA10}" type="presOf" srcId="{A41055BD-79DC-4B38-ABE5-B515CB6FEE29}" destId="{8932480E-1B1F-46BD-A0AF-578A091E73D6}" srcOrd="0" destOrd="3" presId="urn:microsoft.com/office/officeart/2009/3/layout/StepUpProcess"/>
    <dgm:cxn modelId="{14E403A0-2859-4416-A773-78560E90D16D}" type="presOf" srcId="{00EE17BC-03D3-4F72-B9F3-05175D20C0CC}" destId="{0D8B7C01-8225-42FD-A1F3-104A62910E59}" srcOrd="0" destOrd="7" presId="urn:microsoft.com/office/officeart/2009/3/layout/StepUpProcess"/>
    <dgm:cxn modelId="{A71831A5-1104-412E-B34A-AB631B1D1E61}" srcId="{955AB32F-83B5-4F9B-A7DD-789F69076553}" destId="{4E475A66-238F-4E53-B865-977EA90B0858}" srcOrd="1" destOrd="0" parTransId="{E62B8333-4F4D-4E8F-8912-AFA5C76EC7E6}" sibTransId="{52DC074A-E869-410F-95F3-A7B7A4A83BFA}"/>
    <dgm:cxn modelId="{99EBCAAC-94BB-4B48-B45A-43B25BE0903E}" type="presOf" srcId="{96BB8EC4-F090-41A5-B58A-708C01C2E697}" destId="{4519B631-4337-427A-84DD-ACABFE39EF12}" srcOrd="0" destOrd="5" presId="urn:microsoft.com/office/officeart/2009/3/layout/StepUpProcess"/>
    <dgm:cxn modelId="{29367BB0-417A-44F3-9912-CF3EC5D71C0E}" type="presOf" srcId="{39F93F68-81B7-400C-904D-B8D899DBB516}" destId="{8932480E-1B1F-46BD-A0AF-578A091E73D6}" srcOrd="0" destOrd="0" presId="urn:microsoft.com/office/officeart/2009/3/layout/StepUpProcess"/>
    <dgm:cxn modelId="{1E73B2B0-1063-418B-A95D-F0390107C4C1}" type="presOf" srcId="{7191C1C4-E233-4B2B-9F44-F51A5812BFDF}" destId="{8932480E-1B1F-46BD-A0AF-578A091E73D6}" srcOrd="0" destOrd="2" presId="urn:microsoft.com/office/officeart/2009/3/layout/StepUpProcess"/>
    <dgm:cxn modelId="{5C08DDBA-C48B-4E37-9C64-C15026984087}" srcId="{6675F492-1955-40F1-98D4-D4002E0F55E5}" destId="{DBFD8487-AE39-45AB-92B7-297F6B55C12B}" srcOrd="2" destOrd="0" parTransId="{4EE337B8-7F44-464C-B080-56C6BD6ED5AB}" sibTransId="{FD29B602-FEA0-4254-8EFF-0680AD445BBD}"/>
    <dgm:cxn modelId="{B0E059BB-834A-4631-A296-CD5EEB4B032F}" type="presOf" srcId="{955AB32F-83B5-4F9B-A7DD-789F69076553}" destId="{B817B3BA-1C4A-4943-87E2-4224136D1688}" srcOrd="0" destOrd="0" presId="urn:microsoft.com/office/officeart/2009/3/layout/StepUpProcess"/>
    <dgm:cxn modelId="{9DD8B6BB-48E0-4450-9193-889584129754}" type="presOf" srcId="{0CBF9641-DA49-49C6-8D6F-87EE99C60342}" destId="{0D8B7C01-8225-42FD-A1F3-104A62910E59}" srcOrd="0" destOrd="0" presId="urn:microsoft.com/office/officeart/2009/3/layout/StepUpProcess"/>
    <dgm:cxn modelId="{4AF0BDC1-B9DD-42CF-89AC-FFF268C1E381}" type="presOf" srcId="{6675F492-1955-40F1-98D4-D4002E0F55E5}" destId="{4519B631-4337-427A-84DD-ACABFE39EF12}" srcOrd="0" destOrd="0" presId="urn:microsoft.com/office/officeart/2009/3/layout/StepUpProcess"/>
    <dgm:cxn modelId="{5FE05BC3-231E-40F9-8055-6D033B231DC7}" type="presOf" srcId="{528A148C-C077-4CAA-AEDD-C699E819E136}" destId="{8932480E-1B1F-46BD-A0AF-578A091E73D6}" srcOrd="0" destOrd="6" presId="urn:microsoft.com/office/officeart/2009/3/layout/StepUpProcess"/>
    <dgm:cxn modelId="{FB6995C3-5B73-4022-AF56-7D505CC9D008}" srcId="{39F93F68-81B7-400C-904D-B8D899DBB516}" destId="{4C2B8FCF-029F-413F-90BA-C31DDAEEBB3E}" srcOrd="4" destOrd="0" parTransId="{D9B8235C-2C1A-4190-9752-B0965A572597}" sibTransId="{CDB70E45-C546-43FE-BDCB-670E8083BEB2}"/>
    <dgm:cxn modelId="{B0D0B2C6-EA97-43CD-8795-280C838CA10A}" srcId="{0CBF9641-DA49-49C6-8D6F-87EE99C60342}" destId="{4C660A23-7213-427B-B7AB-A69A7DDF2107}" srcOrd="5" destOrd="0" parTransId="{25DD7C6B-398A-4FA4-B103-EEF353B9CD80}" sibTransId="{20D44083-8CD0-4836-8A9B-914684C153F1}"/>
    <dgm:cxn modelId="{EFC3A6C8-1F36-4A1B-8ADE-215B6F93714E}" type="presOf" srcId="{7EF40FBB-4A54-4677-8147-6893B2512223}" destId="{4519B631-4337-427A-84DD-ACABFE39EF12}" srcOrd="0" destOrd="1" presId="urn:microsoft.com/office/officeart/2009/3/layout/StepUpProcess"/>
    <dgm:cxn modelId="{A3A338CB-7D02-4756-A5A6-84B640D0919D}" type="presOf" srcId="{71F68107-2A6E-48B6-90DE-4CF985100638}" destId="{B817B3BA-1C4A-4943-87E2-4224136D1688}" srcOrd="0" destOrd="5" presId="urn:microsoft.com/office/officeart/2009/3/layout/StepUpProcess"/>
    <dgm:cxn modelId="{BABF7DCF-5B87-44C8-8D6A-594B0E8BBA15}" srcId="{66A64B05-B62B-4518-A38B-6BD69054DAA5}" destId="{39F93F68-81B7-400C-904D-B8D899DBB516}" srcOrd="1" destOrd="0" parTransId="{0ECB2BE1-D251-4CA2-82F0-18FE9A3D95D4}" sibTransId="{F902DCB2-FD34-4F5D-ACB0-1A2D1E00BB64}"/>
    <dgm:cxn modelId="{D44876D0-8AC4-43DD-BD6A-F0E4040A0FF7}" srcId="{66A64B05-B62B-4518-A38B-6BD69054DAA5}" destId="{6675F492-1955-40F1-98D4-D4002E0F55E5}" srcOrd="0" destOrd="0" parTransId="{691B69C9-7221-4280-86A0-C51B6BB3B014}" sibTransId="{74202201-14CA-451E-B954-F5F56FEF6E4A}"/>
    <dgm:cxn modelId="{90C563D2-6801-4B23-8667-BA1BF8D93B19}" type="presOf" srcId="{A9ABCD4D-467D-4EB8-97F3-330544323562}" destId="{0D8B7C01-8225-42FD-A1F3-104A62910E59}" srcOrd="0" destOrd="5" presId="urn:microsoft.com/office/officeart/2009/3/layout/StepUpProcess"/>
    <dgm:cxn modelId="{9E7DB6DC-5775-42D5-91C5-B213F215BBCD}" type="presOf" srcId="{97F85C57-7D41-46DB-AB35-C3BA3636A26D}" destId="{B817B3BA-1C4A-4943-87E2-4224136D1688}" srcOrd="0" destOrd="7" presId="urn:microsoft.com/office/officeart/2009/3/layout/StepUpProcess"/>
    <dgm:cxn modelId="{02E839DE-6DAE-4A5B-9899-5830867CB1E9}" srcId="{39F93F68-81B7-400C-904D-B8D899DBB516}" destId="{528A148C-C077-4CAA-AEDD-C699E819E136}" srcOrd="5" destOrd="0" parTransId="{4E844570-AD7F-4696-9ABF-7207173B7B01}" sibTransId="{4B9C7B7B-DF0F-4225-8B5E-B572AC1C70BB}"/>
    <dgm:cxn modelId="{E129E4E5-E2E9-435D-87EA-EED20D72162B}" type="presOf" srcId="{E0DAB5AF-DD57-4AF0-9398-C4986F29EA3C}" destId="{0D8B7C01-8225-42FD-A1F3-104A62910E59}" srcOrd="0" destOrd="4" presId="urn:microsoft.com/office/officeart/2009/3/layout/StepUpProcess"/>
    <dgm:cxn modelId="{3595ECEB-A326-49DC-9A88-E82AF6A5DCE9}" type="presOf" srcId="{B9048A37-5A6C-4AE6-ACA8-DF78D1CA332F}" destId="{8932480E-1B1F-46BD-A0AF-578A091E73D6}" srcOrd="0" destOrd="7" presId="urn:microsoft.com/office/officeart/2009/3/layout/StepUpProcess"/>
    <dgm:cxn modelId="{56ECA8EE-9703-41A1-90D2-7657F1FF43CC}" type="presOf" srcId="{0C34A795-42CE-4C25-8457-225CAA86A6D4}" destId="{8932480E-1B1F-46BD-A0AF-578A091E73D6}" srcOrd="0" destOrd="1" presId="urn:microsoft.com/office/officeart/2009/3/layout/StepUpProcess"/>
    <dgm:cxn modelId="{0CEEA5F1-7C97-49CB-82C0-5E40D9B91892}" srcId="{955AB32F-83B5-4F9B-A7DD-789F69076553}" destId="{D3AF1B95-4E6E-4813-B7D8-ECB811FF9B11}" srcOrd="5" destOrd="0" parTransId="{AB86E98E-DA05-4FCA-BD1E-B1430AA6987E}" sibTransId="{C9767C93-EAE6-4E6D-ADFC-1306CA29F24A}"/>
    <dgm:cxn modelId="{0AEB79F6-4519-4BFA-8E35-F58313408525}" srcId="{0CBF9641-DA49-49C6-8D6F-87EE99C60342}" destId="{E81165A0-D322-47AE-BEE6-DA338D46F7AE}" srcOrd="0" destOrd="0" parTransId="{05923F60-FE13-4111-90AF-41A4EABDFDAD}" sibTransId="{F3B2023E-71F5-4770-8508-F7DB0C07F53F}"/>
    <dgm:cxn modelId="{EAC6B8F8-910E-483B-B1A2-40A27F28033A}" srcId="{39F93F68-81B7-400C-904D-B8D899DBB516}" destId="{B9048A37-5A6C-4AE6-ACA8-DF78D1CA332F}" srcOrd="6" destOrd="0" parTransId="{C0FCE141-039A-4484-80BE-5D053839ED75}" sibTransId="{28474821-1A90-42D0-9A07-03C60F24C9CF}"/>
    <dgm:cxn modelId="{EAD72395-BB4E-4AE1-B13D-7CD1DDF88F85}" type="presParOf" srcId="{EACC72FD-1378-4138-8A29-5B77AFE41A88}" destId="{653AE36C-10BF-4D19-B110-23EE7948DC6F}" srcOrd="0" destOrd="0" presId="urn:microsoft.com/office/officeart/2009/3/layout/StepUpProcess"/>
    <dgm:cxn modelId="{1ED3C90E-0F14-4F56-82DF-E2FEF3B71F28}" type="presParOf" srcId="{653AE36C-10BF-4D19-B110-23EE7948DC6F}" destId="{61987052-483B-4092-91E9-A55B11DAE1F4}" srcOrd="0" destOrd="0" presId="urn:microsoft.com/office/officeart/2009/3/layout/StepUpProcess"/>
    <dgm:cxn modelId="{FDEBBFF9-FC90-476A-9D63-DADCF18D9893}" type="presParOf" srcId="{653AE36C-10BF-4D19-B110-23EE7948DC6F}" destId="{4519B631-4337-427A-84DD-ACABFE39EF12}" srcOrd="1" destOrd="0" presId="urn:microsoft.com/office/officeart/2009/3/layout/StepUpProcess"/>
    <dgm:cxn modelId="{D8288E76-2706-4FD6-BF4A-10F6B0FBCED4}" type="presParOf" srcId="{653AE36C-10BF-4D19-B110-23EE7948DC6F}" destId="{4305594F-356D-4A39-B90D-FA7A5F63A8E7}" srcOrd="2" destOrd="0" presId="urn:microsoft.com/office/officeart/2009/3/layout/StepUpProcess"/>
    <dgm:cxn modelId="{4B957272-2056-4A78-BD22-F475E6BA70AE}" type="presParOf" srcId="{EACC72FD-1378-4138-8A29-5B77AFE41A88}" destId="{E12FF242-6110-4616-B05A-07FB45B7FA40}" srcOrd="1" destOrd="0" presId="urn:microsoft.com/office/officeart/2009/3/layout/StepUpProcess"/>
    <dgm:cxn modelId="{D036E9AB-0861-4D20-8178-74D069020276}" type="presParOf" srcId="{E12FF242-6110-4616-B05A-07FB45B7FA40}" destId="{C48DA5A2-F23C-437F-8639-4E2E7935C2F8}" srcOrd="0" destOrd="0" presId="urn:microsoft.com/office/officeart/2009/3/layout/StepUpProcess"/>
    <dgm:cxn modelId="{EF23293D-0FC9-4823-8A16-241AAB97CB70}" type="presParOf" srcId="{EACC72FD-1378-4138-8A29-5B77AFE41A88}" destId="{8798D91C-5E51-43AB-944C-A742AB4BEC50}" srcOrd="2" destOrd="0" presId="urn:microsoft.com/office/officeart/2009/3/layout/StepUpProcess"/>
    <dgm:cxn modelId="{72A6F9AE-C77C-43B5-9AD8-AB31078AA4A0}" type="presParOf" srcId="{8798D91C-5E51-43AB-944C-A742AB4BEC50}" destId="{489F267D-75C8-40FA-B937-F3900A703E19}" srcOrd="0" destOrd="0" presId="urn:microsoft.com/office/officeart/2009/3/layout/StepUpProcess"/>
    <dgm:cxn modelId="{57DA0459-8448-49BC-8331-146627449618}" type="presParOf" srcId="{8798D91C-5E51-43AB-944C-A742AB4BEC50}" destId="{8932480E-1B1F-46BD-A0AF-578A091E73D6}" srcOrd="1" destOrd="0" presId="urn:microsoft.com/office/officeart/2009/3/layout/StepUpProcess"/>
    <dgm:cxn modelId="{1CBD315A-99C0-4197-B2A6-CABC09773C01}" type="presParOf" srcId="{8798D91C-5E51-43AB-944C-A742AB4BEC50}" destId="{BA1AA3DF-49B0-4B90-B7C1-E7B2952DEBB9}" srcOrd="2" destOrd="0" presId="urn:microsoft.com/office/officeart/2009/3/layout/StepUpProcess"/>
    <dgm:cxn modelId="{765BF724-6A5B-4A6F-8C0D-C83BCA0FD665}" type="presParOf" srcId="{EACC72FD-1378-4138-8A29-5B77AFE41A88}" destId="{F71F1D24-8983-43CE-B63A-21DABA319E90}" srcOrd="3" destOrd="0" presId="urn:microsoft.com/office/officeart/2009/3/layout/StepUpProcess"/>
    <dgm:cxn modelId="{01917706-1187-4F79-9BDA-EC65692B277B}" type="presParOf" srcId="{F71F1D24-8983-43CE-B63A-21DABA319E90}" destId="{54312EFA-4D35-4E08-801E-CA9B616FA9D2}" srcOrd="0" destOrd="0" presId="urn:microsoft.com/office/officeart/2009/3/layout/StepUpProcess"/>
    <dgm:cxn modelId="{EB02BC75-307E-48E2-9878-679694C40906}" type="presParOf" srcId="{EACC72FD-1378-4138-8A29-5B77AFE41A88}" destId="{A2E340AD-4AD8-43A9-8E40-56A994F4B3CD}" srcOrd="4" destOrd="0" presId="urn:microsoft.com/office/officeart/2009/3/layout/StepUpProcess"/>
    <dgm:cxn modelId="{C7F016D2-BE04-4261-938B-7D737EF4B920}" type="presParOf" srcId="{A2E340AD-4AD8-43A9-8E40-56A994F4B3CD}" destId="{24FEB0FB-82B9-48BA-89CA-CEC6258C5C40}" srcOrd="0" destOrd="0" presId="urn:microsoft.com/office/officeart/2009/3/layout/StepUpProcess"/>
    <dgm:cxn modelId="{A646F439-C2B3-424A-B98F-7709E7E9F4AD}" type="presParOf" srcId="{A2E340AD-4AD8-43A9-8E40-56A994F4B3CD}" destId="{0D8B7C01-8225-42FD-A1F3-104A62910E59}" srcOrd="1" destOrd="0" presId="urn:microsoft.com/office/officeart/2009/3/layout/StepUpProcess"/>
    <dgm:cxn modelId="{27D9991F-6AF5-41DD-BB63-A1DEE6F80C63}" type="presParOf" srcId="{A2E340AD-4AD8-43A9-8E40-56A994F4B3CD}" destId="{4524B41B-53B9-4AC9-95A8-BB4830713B2F}" srcOrd="2" destOrd="0" presId="urn:microsoft.com/office/officeart/2009/3/layout/StepUpProcess"/>
    <dgm:cxn modelId="{6B44FC31-CD9F-48B9-898C-7E7932C64FF4}" type="presParOf" srcId="{EACC72FD-1378-4138-8A29-5B77AFE41A88}" destId="{75CFE350-A483-4257-BE4C-5417FDBB88F1}" srcOrd="5" destOrd="0" presId="urn:microsoft.com/office/officeart/2009/3/layout/StepUpProcess"/>
    <dgm:cxn modelId="{151C43C4-5AEC-40DA-85ED-C8834AA71131}" type="presParOf" srcId="{75CFE350-A483-4257-BE4C-5417FDBB88F1}" destId="{8C147D4F-353D-4CA5-A4B1-1B8325D51D24}" srcOrd="0" destOrd="0" presId="urn:microsoft.com/office/officeart/2009/3/layout/StepUpProcess"/>
    <dgm:cxn modelId="{ABE86CDA-86D9-4787-AC47-7FA342B70973}" type="presParOf" srcId="{EACC72FD-1378-4138-8A29-5B77AFE41A88}" destId="{3B0EF7C2-C59A-49E2-AB88-7A675ACA0BDF}" srcOrd="6" destOrd="0" presId="urn:microsoft.com/office/officeart/2009/3/layout/StepUpProcess"/>
    <dgm:cxn modelId="{6EAFCCA7-B328-4CCB-9733-127C18A02312}" type="presParOf" srcId="{3B0EF7C2-C59A-49E2-AB88-7A675ACA0BDF}" destId="{EC9A6425-E483-4D95-8888-3E8608F59DF0}" srcOrd="0" destOrd="0" presId="urn:microsoft.com/office/officeart/2009/3/layout/StepUpProcess"/>
    <dgm:cxn modelId="{4CAAA4A4-7986-4801-BC0E-DE9DAE03E018}" type="presParOf" srcId="{3B0EF7C2-C59A-49E2-AB88-7A675ACA0BDF}" destId="{B817B3BA-1C4A-4943-87E2-4224136D168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C71FD4-060C-478C-A141-64549085C88E}" type="doc">
      <dgm:prSet loTypeId="urn:microsoft.com/office/officeart/2005/8/layout/radial3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D598127A-C886-413B-938F-AC35FAB70CE2}">
      <dgm:prSet phldrT="[文本]" custT="1"/>
      <dgm:spPr/>
      <dgm:t>
        <a:bodyPr/>
        <a:lstStyle/>
        <a:p>
          <a:r>
            <a:rPr lang="en-US" altLang="zh-CN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itan</a:t>
          </a:r>
        </a:p>
        <a:p>
          <a:r>
            <a:rPr lang="zh-CN" alt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运维管理平台</a:t>
          </a:r>
        </a:p>
      </dgm:t>
    </dgm:pt>
    <dgm:pt modelId="{59EA0B43-3BF5-411B-BFE2-ADFA3FDF9583}" type="parTrans" cxnId="{B8318E3B-86C0-4D63-9E88-08805B517514}">
      <dgm:prSet/>
      <dgm:spPr/>
      <dgm:t>
        <a:bodyPr/>
        <a:lstStyle/>
        <a:p>
          <a:endParaRPr lang="zh-CN" altLang="en-US" sz="1400"/>
        </a:p>
      </dgm:t>
    </dgm:pt>
    <dgm:pt modelId="{A82DC1AD-ABF9-48D0-B2F1-12097A25FE3F}" type="sibTrans" cxnId="{B8318E3B-86C0-4D63-9E88-08805B517514}">
      <dgm:prSet/>
      <dgm:spPr/>
      <dgm:t>
        <a:bodyPr/>
        <a:lstStyle/>
        <a:p>
          <a:endParaRPr lang="zh-CN" altLang="en-US" sz="1400"/>
        </a:p>
      </dgm:t>
    </dgm:pt>
    <dgm:pt modelId="{00D9FF87-9BA8-4C43-99B6-384FBE07696B}">
      <dgm:prSet phldrT="[文本]" custT="1"/>
      <dgm:spPr/>
      <dgm:t>
        <a:bodyPr/>
        <a:lstStyle/>
        <a:p>
          <a:r>
            <a:rPr lang="zh-CN" altLang="en-US" sz="1600" dirty="0"/>
            <a:t>系统环境初始化</a:t>
          </a:r>
        </a:p>
      </dgm:t>
    </dgm:pt>
    <dgm:pt modelId="{1919F0C3-66D9-4766-83CC-F38CFCBC0729}" type="parTrans" cxnId="{86099708-020F-44FB-AA9F-B3751F2ADF31}">
      <dgm:prSet/>
      <dgm:spPr/>
      <dgm:t>
        <a:bodyPr/>
        <a:lstStyle/>
        <a:p>
          <a:endParaRPr lang="zh-CN" altLang="en-US" sz="1400"/>
        </a:p>
      </dgm:t>
    </dgm:pt>
    <dgm:pt modelId="{A13B5F7C-9FC6-42CF-AF9D-B88730C966E9}" type="sibTrans" cxnId="{86099708-020F-44FB-AA9F-B3751F2ADF31}">
      <dgm:prSet/>
      <dgm:spPr/>
      <dgm:t>
        <a:bodyPr/>
        <a:lstStyle/>
        <a:p>
          <a:endParaRPr lang="zh-CN" altLang="en-US" sz="1400"/>
        </a:p>
      </dgm:t>
    </dgm:pt>
    <dgm:pt modelId="{70A043A9-1364-41BC-B514-C75613B67B94}">
      <dgm:prSet phldrT="[文本]" custT="1"/>
      <dgm:spPr/>
      <dgm:t>
        <a:bodyPr/>
        <a:lstStyle/>
        <a:p>
          <a:r>
            <a:rPr lang="zh-CN" altLang="en-US" sz="1600" dirty="0"/>
            <a:t>运维发布</a:t>
          </a:r>
        </a:p>
      </dgm:t>
    </dgm:pt>
    <dgm:pt modelId="{72B88DE4-545E-4904-8F56-5A3955A89197}" type="parTrans" cxnId="{F005F007-C8DC-4F71-9251-3377B8869811}">
      <dgm:prSet/>
      <dgm:spPr/>
      <dgm:t>
        <a:bodyPr/>
        <a:lstStyle/>
        <a:p>
          <a:endParaRPr lang="zh-CN" altLang="en-US" sz="1400"/>
        </a:p>
      </dgm:t>
    </dgm:pt>
    <dgm:pt modelId="{04B2FA73-6DFD-4479-91B7-5680FAE41311}" type="sibTrans" cxnId="{F005F007-C8DC-4F71-9251-3377B8869811}">
      <dgm:prSet/>
      <dgm:spPr/>
      <dgm:t>
        <a:bodyPr/>
        <a:lstStyle/>
        <a:p>
          <a:endParaRPr lang="zh-CN" altLang="en-US" sz="1400"/>
        </a:p>
      </dgm:t>
    </dgm:pt>
    <dgm:pt modelId="{4649F866-B676-4CCA-8201-16B661792460}">
      <dgm:prSet phldrT="[文本]" custT="1"/>
      <dgm:spPr/>
      <dgm:t>
        <a:bodyPr/>
        <a:lstStyle/>
        <a:p>
          <a:r>
            <a:rPr lang="zh-CN" altLang="en-US" sz="1600" dirty="0"/>
            <a:t>流量调度</a:t>
          </a:r>
        </a:p>
      </dgm:t>
    </dgm:pt>
    <dgm:pt modelId="{15FC8600-1C4F-4586-B06F-333E7ABBD522}" type="parTrans" cxnId="{D2377DD9-6530-4AF7-8838-459B45C288DD}">
      <dgm:prSet/>
      <dgm:spPr/>
      <dgm:t>
        <a:bodyPr/>
        <a:lstStyle/>
        <a:p>
          <a:endParaRPr lang="zh-CN" altLang="en-US" sz="1400"/>
        </a:p>
      </dgm:t>
    </dgm:pt>
    <dgm:pt modelId="{76C79D6D-90BB-45D8-8079-41CCFFB31BCE}" type="sibTrans" cxnId="{D2377DD9-6530-4AF7-8838-459B45C288DD}">
      <dgm:prSet/>
      <dgm:spPr/>
      <dgm:t>
        <a:bodyPr/>
        <a:lstStyle/>
        <a:p>
          <a:endParaRPr lang="zh-CN" altLang="en-US" sz="1400"/>
        </a:p>
      </dgm:t>
    </dgm:pt>
    <dgm:pt modelId="{1537D5B1-EA59-4C08-86E5-41A4380AEB1F}">
      <dgm:prSet phldrT="[文本]" custT="1"/>
      <dgm:spPr/>
      <dgm:t>
        <a:bodyPr/>
        <a:lstStyle/>
        <a:p>
          <a:r>
            <a:rPr lang="zh-CN" altLang="en-US" sz="1600" dirty="0"/>
            <a:t>资产管理</a:t>
          </a:r>
        </a:p>
      </dgm:t>
    </dgm:pt>
    <dgm:pt modelId="{AACFE7F7-CDFA-4300-A50B-56D37E177FBA}" type="parTrans" cxnId="{EDF6979D-724D-45E1-9F0D-6678410328E8}">
      <dgm:prSet/>
      <dgm:spPr/>
      <dgm:t>
        <a:bodyPr/>
        <a:lstStyle/>
        <a:p>
          <a:endParaRPr lang="zh-CN" altLang="en-US" sz="1400"/>
        </a:p>
      </dgm:t>
    </dgm:pt>
    <dgm:pt modelId="{45885524-7F19-410E-9A5F-CCCB3AB80AC6}" type="sibTrans" cxnId="{EDF6979D-724D-45E1-9F0D-6678410328E8}">
      <dgm:prSet/>
      <dgm:spPr/>
      <dgm:t>
        <a:bodyPr/>
        <a:lstStyle/>
        <a:p>
          <a:endParaRPr lang="zh-CN" altLang="en-US" sz="1400"/>
        </a:p>
      </dgm:t>
    </dgm:pt>
    <dgm:pt modelId="{14490695-D870-4796-9E3A-493A8165F7AF}" type="pres">
      <dgm:prSet presAssocID="{2AC71FD4-060C-478C-A141-64549085C88E}" presName="composite" presStyleCnt="0">
        <dgm:presLayoutVars>
          <dgm:chMax val="1"/>
          <dgm:dir/>
          <dgm:resizeHandles val="exact"/>
        </dgm:presLayoutVars>
      </dgm:prSet>
      <dgm:spPr/>
    </dgm:pt>
    <dgm:pt modelId="{93DB4BB0-467C-4121-B1A1-B46AA459E1A7}" type="pres">
      <dgm:prSet presAssocID="{2AC71FD4-060C-478C-A141-64549085C88E}" presName="radial" presStyleCnt="0">
        <dgm:presLayoutVars>
          <dgm:animLvl val="ctr"/>
        </dgm:presLayoutVars>
      </dgm:prSet>
      <dgm:spPr/>
    </dgm:pt>
    <dgm:pt modelId="{C4A56E43-E468-4465-95D5-1E1D134AFE25}" type="pres">
      <dgm:prSet presAssocID="{D598127A-C886-413B-938F-AC35FAB70CE2}" presName="centerShape" presStyleLbl="vennNode1" presStyleIdx="0" presStyleCnt="5"/>
      <dgm:spPr/>
    </dgm:pt>
    <dgm:pt modelId="{1FA432D5-CFC4-466E-8F2F-D1FEB926C85C}" type="pres">
      <dgm:prSet presAssocID="{00D9FF87-9BA8-4C43-99B6-384FBE07696B}" presName="node" presStyleLbl="vennNode1" presStyleIdx="1" presStyleCnt="5">
        <dgm:presLayoutVars>
          <dgm:bulletEnabled val="1"/>
        </dgm:presLayoutVars>
      </dgm:prSet>
      <dgm:spPr/>
    </dgm:pt>
    <dgm:pt modelId="{B54A8330-E3D1-4FA3-ADD6-158338E63C60}" type="pres">
      <dgm:prSet presAssocID="{70A043A9-1364-41BC-B514-C75613B67B94}" presName="node" presStyleLbl="vennNode1" presStyleIdx="2" presStyleCnt="5">
        <dgm:presLayoutVars>
          <dgm:bulletEnabled val="1"/>
        </dgm:presLayoutVars>
      </dgm:prSet>
      <dgm:spPr/>
    </dgm:pt>
    <dgm:pt modelId="{20C07622-7D8D-486F-B65C-65F2D05D7E9B}" type="pres">
      <dgm:prSet presAssocID="{4649F866-B676-4CCA-8201-16B661792460}" presName="node" presStyleLbl="vennNode1" presStyleIdx="3" presStyleCnt="5">
        <dgm:presLayoutVars>
          <dgm:bulletEnabled val="1"/>
        </dgm:presLayoutVars>
      </dgm:prSet>
      <dgm:spPr/>
    </dgm:pt>
    <dgm:pt modelId="{B45C77ED-B7BF-4F8C-81D8-B4B62F35576C}" type="pres">
      <dgm:prSet presAssocID="{1537D5B1-EA59-4C08-86E5-41A4380AEB1F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F005F007-C8DC-4F71-9251-3377B8869811}" srcId="{D598127A-C886-413B-938F-AC35FAB70CE2}" destId="{70A043A9-1364-41BC-B514-C75613B67B94}" srcOrd="1" destOrd="0" parTransId="{72B88DE4-545E-4904-8F56-5A3955A89197}" sibTransId="{04B2FA73-6DFD-4479-91B7-5680FAE41311}"/>
    <dgm:cxn modelId="{86099708-020F-44FB-AA9F-B3751F2ADF31}" srcId="{D598127A-C886-413B-938F-AC35FAB70CE2}" destId="{00D9FF87-9BA8-4C43-99B6-384FBE07696B}" srcOrd="0" destOrd="0" parTransId="{1919F0C3-66D9-4766-83CC-F38CFCBC0729}" sibTransId="{A13B5F7C-9FC6-42CF-AF9D-B88730C966E9}"/>
    <dgm:cxn modelId="{DF9ADA25-4056-4E11-96DE-C9049E1481D0}" type="presOf" srcId="{D598127A-C886-413B-938F-AC35FAB70CE2}" destId="{C4A56E43-E468-4465-95D5-1E1D134AFE25}" srcOrd="0" destOrd="0" presId="urn:microsoft.com/office/officeart/2005/8/layout/radial3"/>
    <dgm:cxn modelId="{A5D7A63A-1F41-4FE5-90F0-64E30D3003C9}" type="presOf" srcId="{1537D5B1-EA59-4C08-86E5-41A4380AEB1F}" destId="{B45C77ED-B7BF-4F8C-81D8-B4B62F35576C}" srcOrd="0" destOrd="0" presId="urn:microsoft.com/office/officeart/2005/8/layout/radial3"/>
    <dgm:cxn modelId="{B8318E3B-86C0-4D63-9E88-08805B517514}" srcId="{2AC71FD4-060C-478C-A141-64549085C88E}" destId="{D598127A-C886-413B-938F-AC35FAB70CE2}" srcOrd="0" destOrd="0" parTransId="{59EA0B43-3BF5-411B-BFE2-ADFA3FDF9583}" sibTransId="{A82DC1AD-ABF9-48D0-B2F1-12097A25FE3F}"/>
    <dgm:cxn modelId="{EDF6979D-724D-45E1-9F0D-6678410328E8}" srcId="{D598127A-C886-413B-938F-AC35FAB70CE2}" destId="{1537D5B1-EA59-4C08-86E5-41A4380AEB1F}" srcOrd="3" destOrd="0" parTransId="{AACFE7F7-CDFA-4300-A50B-56D37E177FBA}" sibTransId="{45885524-7F19-410E-9A5F-CCCB3AB80AC6}"/>
    <dgm:cxn modelId="{B5F4F9AE-68C9-4EE7-8796-8037CE47108D}" type="presOf" srcId="{00D9FF87-9BA8-4C43-99B6-384FBE07696B}" destId="{1FA432D5-CFC4-466E-8F2F-D1FEB926C85C}" srcOrd="0" destOrd="0" presId="urn:microsoft.com/office/officeart/2005/8/layout/radial3"/>
    <dgm:cxn modelId="{C69AD8C0-C9DC-4773-A86F-B63889F6452B}" type="presOf" srcId="{4649F866-B676-4CCA-8201-16B661792460}" destId="{20C07622-7D8D-486F-B65C-65F2D05D7E9B}" srcOrd="0" destOrd="0" presId="urn:microsoft.com/office/officeart/2005/8/layout/radial3"/>
    <dgm:cxn modelId="{D2377DD9-6530-4AF7-8838-459B45C288DD}" srcId="{D598127A-C886-413B-938F-AC35FAB70CE2}" destId="{4649F866-B676-4CCA-8201-16B661792460}" srcOrd="2" destOrd="0" parTransId="{15FC8600-1C4F-4586-B06F-333E7ABBD522}" sibTransId="{76C79D6D-90BB-45D8-8079-41CCFFB31BCE}"/>
    <dgm:cxn modelId="{B3AAE0DF-4E61-44E5-939F-C133AFB96B96}" type="presOf" srcId="{2AC71FD4-060C-478C-A141-64549085C88E}" destId="{14490695-D870-4796-9E3A-493A8165F7AF}" srcOrd="0" destOrd="0" presId="urn:microsoft.com/office/officeart/2005/8/layout/radial3"/>
    <dgm:cxn modelId="{C43106EA-08DF-44FC-9627-58FFBA56F145}" type="presOf" srcId="{70A043A9-1364-41BC-B514-C75613B67B94}" destId="{B54A8330-E3D1-4FA3-ADD6-158338E63C60}" srcOrd="0" destOrd="0" presId="urn:microsoft.com/office/officeart/2005/8/layout/radial3"/>
    <dgm:cxn modelId="{EA035B6F-245B-41D7-B181-B61B21F86E7A}" type="presParOf" srcId="{14490695-D870-4796-9E3A-493A8165F7AF}" destId="{93DB4BB0-467C-4121-B1A1-B46AA459E1A7}" srcOrd="0" destOrd="0" presId="urn:microsoft.com/office/officeart/2005/8/layout/radial3"/>
    <dgm:cxn modelId="{4CAC0187-4E9F-4BE0-B156-FD54441EADCB}" type="presParOf" srcId="{93DB4BB0-467C-4121-B1A1-B46AA459E1A7}" destId="{C4A56E43-E468-4465-95D5-1E1D134AFE25}" srcOrd="0" destOrd="0" presId="urn:microsoft.com/office/officeart/2005/8/layout/radial3"/>
    <dgm:cxn modelId="{FD5BFB4D-F4AB-4242-83F4-AF5D54CD3D86}" type="presParOf" srcId="{93DB4BB0-467C-4121-B1A1-B46AA459E1A7}" destId="{1FA432D5-CFC4-466E-8F2F-D1FEB926C85C}" srcOrd="1" destOrd="0" presId="urn:microsoft.com/office/officeart/2005/8/layout/radial3"/>
    <dgm:cxn modelId="{7096EF8E-2364-4736-9F58-7ACC0FF241F7}" type="presParOf" srcId="{93DB4BB0-467C-4121-B1A1-B46AA459E1A7}" destId="{B54A8330-E3D1-4FA3-ADD6-158338E63C60}" srcOrd="2" destOrd="0" presId="urn:microsoft.com/office/officeart/2005/8/layout/radial3"/>
    <dgm:cxn modelId="{101D17E2-F19C-4DC4-B3B8-36DB3F1972DB}" type="presParOf" srcId="{93DB4BB0-467C-4121-B1A1-B46AA459E1A7}" destId="{20C07622-7D8D-486F-B65C-65F2D05D7E9B}" srcOrd="3" destOrd="0" presId="urn:microsoft.com/office/officeart/2005/8/layout/radial3"/>
    <dgm:cxn modelId="{3F084EA4-8319-4849-A920-DE07705374C6}" type="presParOf" srcId="{93DB4BB0-467C-4121-B1A1-B46AA459E1A7}" destId="{B45C77ED-B7BF-4F8C-81D8-B4B62F35576C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987052-483B-4092-91E9-A55B11DAE1F4}">
      <dsp:nvSpPr>
        <dsp:cNvPr id="0" name=""/>
        <dsp:cNvSpPr/>
      </dsp:nvSpPr>
      <dsp:spPr>
        <a:xfrm rot="5400000">
          <a:off x="481695" y="2303177"/>
          <a:ext cx="1438992" cy="2394450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519B631-4337-427A-84DD-ACABFE39EF12}">
      <dsp:nvSpPr>
        <dsp:cNvPr id="0" name=""/>
        <dsp:cNvSpPr/>
      </dsp:nvSpPr>
      <dsp:spPr>
        <a:xfrm>
          <a:off x="241491" y="3018602"/>
          <a:ext cx="2161723" cy="1894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700" kern="1200" dirty="0"/>
            <a:t>2014</a:t>
          </a:r>
          <a:r>
            <a:rPr lang="zh-CN" altLang="en-US" sz="1700" kern="1200" dirty="0"/>
            <a:t>年：运维起步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人数：</a:t>
          </a:r>
          <a:r>
            <a:rPr lang="en-US" altLang="zh-CN" sz="1200" kern="1200" dirty="0"/>
            <a:t>2</a:t>
          </a:r>
          <a:r>
            <a:rPr lang="zh-CN" altLang="en-US" sz="1200" kern="1200" dirty="0"/>
            <a:t>人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物理服务器：</a:t>
          </a:r>
          <a:r>
            <a:rPr lang="en-US" altLang="zh-CN" sz="1200" kern="1200" dirty="0"/>
            <a:t>70+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200" kern="1200" dirty="0"/>
            <a:t>IDC</a:t>
          </a:r>
          <a:r>
            <a:rPr lang="zh-CN" altLang="en-US" sz="1200" kern="1200" dirty="0"/>
            <a:t>数量：</a:t>
          </a:r>
          <a:r>
            <a:rPr lang="en-US" altLang="zh-CN" sz="1200" kern="1200" dirty="0"/>
            <a:t>2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方式：人肉</a:t>
          </a:r>
          <a:r>
            <a:rPr lang="en-US" altLang="zh-CN" sz="1200" kern="1200" dirty="0"/>
            <a:t>+</a:t>
          </a:r>
          <a:r>
            <a:rPr lang="zh-CN" altLang="en-US" sz="1200" kern="1200" dirty="0"/>
            <a:t>脚本运维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峰值</a:t>
          </a:r>
          <a:r>
            <a:rPr lang="en-US" altLang="zh-CN" sz="1200" kern="1200" dirty="0"/>
            <a:t>QPS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1.3</a:t>
          </a:r>
          <a:r>
            <a:rPr lang="zh-CN" altLang="en-US" sz="1200" kern="1200" dirty="0"/>
            <a:t>万</a:t>
          </a:r>
          <a:r>
            <a:rPr lang="en-US" altLang="zh-CN" sz="1200" kern="1200" dirty="0"/>
            <a:t>/s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</a:t>
          </a:r>
          <a:r>
            <a:rPr lang="en-US" altLang="zh-CN" sz="1200" kern="1200" dirty="0"/>
            <a:t>PV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2700</a:t>
          </a:r>
          <a:r>
            <a:rPr lang="zh-CN" altLang="en-US" sz="1200" kern="1200" dirty="0"/>
            <a:t>万</a:t>
          </a:r>
        </a:p>
      </dsp:txBody>
      <dsp:txXfrm>
        <a:off x="241491" y="3018602"/>
        <a:ext cx="2161723" cy="1894877"/>
      </dsp:txXfrm>
    </dsp:sp>
    <dsp:sp modelId="{4305594F-356D-4A39-B90D-FA7A5F63A8E7}">
      <dsp:nvSpPr>
        <dsp:cNvPr id="0" name=""/>
        <dsp:cNvSpPr/>
      </dsp:nvSpPr>
      <dsp:spPr>
        <a:xfrm>
          <a:off x="1995342" y="2126895"/>
          <a:ext cx="407872" cy="407872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89F267D-75C8-40FA-B937-F3900A703E19}">
      <dsp:nvSpPr>
        <dsp:cNvPr id="0" name=""/>
        <dsp:cNvSpPr/>
      </dsp:nvSpPr>
      <dsp:spPr>
        <a:xfrm rot="5400000">
          <a:off x="3128066" y="1648329"/>
          <a:ext cx="1438992" cy="2394450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932480E-1B1F-46BD-A0AF-578A091E73D6}">
      <dsp:nvSpPr>
        <dsp:cNvPr id="0" name=""/>
        <dsp:cNvSpPr/>
      </dsp:nvSpPr>
      <dsp:spPr>
        <a:xfrm>
          <a:off x="2887863" y="2363754"/>
          <a:ext cx="2161723" cy="1894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700" kern="1200" dirty="0"/>
            <a:t>2016</a:t>
          </a:r>
          <a:r>
            <a:rPr lang="zh-CN" altLang="en-US" sz="1700" kern="1200" dirty="0"/>
            <a:t>年</a:t>
          </a:r>
          <a:r>
            <a:rPr lang="en-US" altLang="zh-CN" sz="1700" kern="1200" dirty="0"/>
            <a:t>: </a:t>
          </a:r>
          <a:r>
            <a:rPr lang="zh-CN" altLang="en-US" sz="1700" kern="1200" dirty="0"/>
            <a:t>全球部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人数：</a:t>
          </a:r>
          <a:r>
            <a:rPr lang="en-US" altLang="zh-CN" sz="1200" kern="1200" dirty="0"/>
            <a:t>9</a:t>
          </a:r>
          <a:r>
            <a:rPr lang="zh-CN" altLang="en-US" sz="1200" kern="1200" dirty="0"/>
            <a:t>人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物理服务器：</a:t>
          </a:r>
          <a:r>
            <a:rPr lang="en-US" altLang="zh-CN" sz="1200" kern="1200" dirty="0"/>
            <a:t>210+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物理</a:t>
          </a:r>
          <a:r>
            <a:rPr lang="en-US" altLang="zh-CN" sz="1200" kern="1200" dirty="0"/>
            <a:t>IDC</a:t>
          </a:r>
          <a:r>
            <a:rPr lang="zh-CN" altLang="en-US" sz="1200" kern="1200" dirty="0"/>
            <a:t>数量：</a:t>
          </a:r>
          <a:r>
            <a:rPr lang="en-US" altLang="zh-CN" sz="1200" kern="1200" dirty="0"/>
            <a:t>4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公有云区域：</a:t>
          </a:r>
          <a:r>
            <a:rPr lang="en-US" altLang="zh-CN" sz="1200" kern="1200" dirty="0"/>
            <a:t>2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方式：工具</a:t>
          </a:r>
          <a:r>
            <a:rPr lang="en-US" altLang="zh-CN" sz="1200" kern="1200" dirty="0"/>
            <a:t>+</a:t>
          </a:r>
          <a:r>
            <a:rPr lang="zh-CN" altLang="en-US" sz="1200" kern="1200" dirty="0"/>
            <a:t>平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峰值</a:t>
          </a:r>
          <a:r>
            <a:rPr lang="en-US" altLang="zh-CN" sz="1200" kern="1200" dirty="0"/>
            <a:t>QPS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8</a:t>
          </a:r>
          <a:r>
            <a:rPr lang="zh-CN" altLang="en-US" sz="1200" kern="1200" dirty="0"/>
            <a:t>万</a:t>
          </a:r>
          <a:r>
            <a:rPr lang="en-US" altLang="zh-CN" sz="1200" kern="1200" dirty="0"/>
            <a:t>/s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</a:t>
          </a:r>
          <a:r>
            <a:rPr lang="en-US" altLang="zh-CN" sz="1200" kern="1200" dirty="0"/>
            <a:t>PV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50</a:t>
          </a:r>
          <a:r>
            <a:rPr lang="zh-CN" altLang="en-US" sz="1200" kern="1200" dirty="0"/>
            <a:t>亿</a:t>
          </a:r>
        </a:p>
      </dsp:txBody>
      <dsp:txXfrm>
        <a:off x="2887863" y="2363754"/>
        <a:ext cx="2161723" cy="1894877"/>
      </dsp:txXfrm>
    </dsp:sp>
    <dsp:sp modelId="{BA1AA3DF-49B0-4B90-B7C1-E7B2952DEBB9}">
      <dsp:nvSpPr>
        <dsp:cNvPr id="0" name=""/>
        <dsp:cNvSpPr/>
      </dsp:nvSpPr>
      <dsp:spPr>
        <a:xfrm>
          <a:off x="4641714" y="1472047"/>
          <a:ext cx="407872" cy="407872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4FEB0FB-82B9-48BA-89CA-CEC6258C5C40}">
      <dsp:nvSpPr>
        <dsp:cNvPr id="0" name=""/>
        <dsp:cNvSpPr/>
      </dsp:nvSpPr>
      <dsp:spPr>
        <a:xfrm rot="5400000">
          <a:off x="5774438" y="993482"/>
          <a:ext cx="1438992" cy="2394450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D8B7C01-8225-42FD-A1F3-104A62910E59}">
      <dsp:nvSpPr>
        <dsp:cNvPr id="0" name=""/>
        <dsp:cNvSpPr/>
      </dsp:nvSpPr>
      <dsp:spPr>
        <a:xfrm>
          <a:off x="5534234" y="1708907"/>
          <a:ext cx="2161723" cy="1894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700" kern="1200" dirty="0"/>
            <a:t>2017</a:t>
          </a:r>
          <a:r>
            <a:rPr lang="zh-CN" altLang="en-US" sz="1700" kern="1200" dirty="0"/>
            <a:t>年：高并发挑战</a:t>
          </a:r>
          <a:endParaRPr lang="en-US" altLang="zh-CN" sz="17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人数：</a:t>
          </a:r>
          <a:r>
            <a:rPr lang="en-US" altLang="zh-CN" sz="1200" kern="1200" dirty="0"/>
            <a:t>9</a:t>
          </a:r>
          <a:r>
            <a:rPr lang="zh-CN" altLang="en-US" sz="1200" kern="1200" dirty="0"/>
            <a:t>人</a:t>
          </a:r>
          <a:endParaRPr lang="en-US" altLang="zh-C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物理服务器：</a:t>
          </a:r>
          <a:r>
            <a:rPr lang="en-US" altLang="zh-CN" sz="1200" kern="1200" dirty="0"/>
            <a:t>500+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200" kern="1200" dirty="0"/>
            <a:t>IDC</a:t>
          </a:r>
          <a:r>
            <a:rPr lang="zh-CN" altLang="en-US" sz="1200" kern="1200" dirty="0"/>
            <a:t>数量：</a:t>
          </a:r>
          <a:r>
            <a:rPr lang="en-US" altLang="zh-CN" sz="1200" kern="1200" dirty="0"/>
            <a:t>8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公有云区域：</a:t>
          </a:r>
          <a:r>
            <a:rPr lang="en-US" altLang="zh-CN" sz="1200" kern="1200" dirty="0"/>
            <a:t>4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方式：</a:t>
          </a:r>
          <a:r>
            <a:rPr lang="en-US" altLang="zh-CN" sz="1200" kern="1200" dirty="0"/>
            <a:t>Titan</a:t>
          </a:r>
          <a:r>
            <a:rPr lang="zh-CN" altLang="en-US" sz="1200" kern="1200" dirty="0"/>
            <a:t>管理平台</a:t>
          </a:r>
          <a:endParaRPr lang="en-US" altLang="zh-C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峰值</a:t>
          </a:r>
          <a:r>
            <a:rPr lang="en-US" altLang="zh-CN" sz="1200" kern="1200" dirty="0"/>
            <a:t>QPS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17</a:t>
          </a:r>
          <a:r>
            <a:rPr lang="zh-CN" altLang="en-US" sz="1200" kern="1200" dirty="0"/>
            <a:t>万</a:t>
          </a:r>
          <a:r>
            <a:rPr lang="en-US" altLang="zh-CN" sz="1200" kern="1200" dirty="0"/>
            <a:t>/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</a:t>
          </a:r>
          <a:r>
            <a:rPr lang="en-US" altLang="zh-CN" sz="1200" kern="1200" dirty="0"/>
            <a:t>PV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110</a:t>
          </a:r>
          <a:r>
            <a:rPr lang="zh-CN" altLang="en-US" sz="1200" kern="1200" dirty="0"/>
            <a:t>亿</a:t>
          </a:r>
          <a:endParaRPr lang="en-US" altLang="zh-CN" sz="1200" kern="1200" dirty="0"/>
        </a:p>
      </dsp:txBody>
      <dsp:txXfrm>
        <a:off x="5534234" y="1708907"/>
        <a:ext cx="2161723" cy="1894877"/>
      </dsp:txXfrm>
    </dsp:sp>
    <dsp:sp modelId="{4524B41B-53B9-4AC9-95A8-BB4830713B2F}">
      <dsp:nvSpPr>
        <dsp:cNvPr id="0" name=""/>
        <dsp:cNvSpPr/>
      </dsp:nvSpPr>
      <dsp:spPr>
        <a:xfrm>
          <a:off x="7288086" y="817200"/>
          <a:ext cx="407872" cy="407872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C9A6425-E483-4D95-8888-3E8608F59DF0}">
      <dsp:nvSpPr>
        <dsp:cNvPr id="0" name=""/>
        <dsp:cNvSpPr/>
      </dsp:nvSpPr>
      <dsp:spPr>
        <a:xfrm rot="5400000">
          <a:off x="8420810" y="338635"/>
          <a:ext cx="1438992" cy="2394450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817B3BA-1C4A-4943-87E2-4224136D1688}">
      <dsp:nvSpPr>
        <dsp:cNvPr id="0" name=""/>
        <dsp:cNvSpPr/>
      </dsp:nvSpPr>
      <dsp:spPr>
        <a:xfrm>
          <a:off x="8180606" y="1054060"/>
          <a:ext cx="2161723" cy="18948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700" kern="1200" dirty="0"/>
            <a:t>2019</a:t>
          </a:r>
          <a:r>
            <a:rPr lang="zh-CN" altLang="en-US" sz="1700" kern="1200" dirty="0"/>
            <a:t>年：运维运营化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人数：</a:t>
          </a:r>
          <a:r>
            <a:rPr lang="en-US" altLang="zh-CN" sz="1200" kern="1200" dirty="0"/>
            <a:t>13</a:t>
          </a:r>
          <a:r>
            <a:rPr lang="zh-CN" altLang="en-US" sz="1200" kern="1200" dirty="0"/>
            <a:t>人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物理服务器：</a:t>
          </a:r>
          <a:r>
            <a:rPr lang="en-US" altLang="zh-CN" sz="1200" kern="1200" dirty="0"/>
            <a:t>800+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200" kern="1200" dirty="0"/>
            <a:t>IDC</a:t>
          </a:r>
          <a:r>
            <a:rPr lang="zh-CN" altLang="en-US" sz="1200" kern="1200" dirty="0"/>
            <a:t>数量：</a:t>
          </a:r>
          <a:r>
            <a:rPr lang="en-US" altLang="zh-CN" sz="1200" kern="1200" dirty="0"/>
            <a:t>10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公有云区域：</a:t>
          </a:r>
          <a:r>
            <a:rPr lang="en-US" altLang="zh-CN" sz="1200" kern="1200" dirty="0"/>
            <a:t>5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运维方式：</a:t>
          </a:r>
          <a:r>
            <a:rPr lang="en-US" altLang="zh-CN" sz="1200" kern="1200" dirty="0"/>
            <a:t>Titan</a:t>
          </a:r>
          <a:r>
            <a:rPr lang="zh-CN" altLang="en-US" sz="1200" kern="1200" dirty="0"/>
            <a:t>管理平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峰值</a:t>
          </a:r>
          <a:r>
            <a:rPr lang="en-US" altLang="zh-CN" sz="1200" kern="1200" dirty="0"/>
            <a:t>QPS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45</a:t>
          </a:r>
          <a:r>
            <a:rPr lang="zh-CN" altLang="en-US" sz="1200" kern="1200" dirty="0"/>
            <a:t>万</a:t>
          </a:r>
          <a:r>
            <a:rPr lang="en-US" altLang="zh-CN" sz="1200" kern="1200" dirty="0"/>
            <a:t>/s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200" kern="1200" dirty="0"/>
            <a:t>业务</a:t>
          </a:r>
          <a:r>
            <a:rPr lang="en-US" altLang="zh-CN" sz="1200" kern="1200" dirty="0"/>
            <a:t>PV</a:t>
          </a:r>
          <a:r>
            <a:rPr lang="zh-CN" altLang="en-US" sz="1200" kern="1200" dirty="0"/>
            <a:t>：</a:t>
          </a:r>
          <a:r>
            <a:rPr lang="en-US" altLang="zh-CN" sz="1200" kern="1200" dirty="0"/>
            <a:t>230</a:t>
          </a:r>
          <a:r>
            <a:rPr lang="zh-CN" altLang="en-US" sz="1200" kern="1200" dirty="0"/>
            <a:t>亿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1200" kern="1200" dirty="0"/>
        </a:p>
      </dsp:txBody>
      <dsp:txXfrm>
        <a:off x="8180606" y="1054060"/>
        <a:ext cx="2161723" cy="18948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A56E43-E468-4465-95D5-1E1D134AFE25}">
      <dsp:nvSpPr>
        <dsp:cNvPr id="0" name=""/>
        <dsp:cNvSpPr/>
      </dsp:nvSpPr>
      <dsp:spPr>
        <a:xfrm>
          <a:off x="2096141" y="1089241"/>
          <a:ext cx="2713547" cy="27135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0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itan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运维管理平台</a:t>
          </a:r>
        </a:p>
      </dsp:txBody>
      <dsp:txXfrm>
        <a:off x="2493531" y="1486631"/>
        <a:ext cx="1918767" cy="1918767"/>
      </dsp:txXfrm>
    </dsp:sp>
    <dsp:sp modelId="{1FA432D5-CFC4-466E-8F2F-D1FEB926C85C}">
      <dsp:nvSpPr>
        <dsp:cNvPr id="0" name=""/>
        <dsp:cNvSpPr/>
      </dsp:nvSpPr>
      <dsp:spPr>
        <a:xfrm>
          <a:off x="2774528" y="484"/>
          <a:ext cx="1356773" cy="13567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kern="1200" dirty="0"/>
            <a:t>系统环境初始化</a:t>
          </a:r>
        </a:p>
      </dsp:txBody>
      <dsp:txXfrm>
        <a:off x="2973223" y="199179"/>
        <a:ext cx="959383" cy="959383"/>
      </dsp:txXfrm>
    </dsp:sp>
    <dsp:sp modelId="{B54A8330-E3D1-4FA3-ADD6-158338E63C60}">
      <dsp:nvSpPr>
        <dsp:cNvPr id="0" name=""/>
        <dsp:cNvSpPr/>
      </dsp:nvSpPr>
      <dsp:spPr>
        <a:xfrm>
          <a:off x="4541672" y="1767628"/>
          <a:ext cx="1356773" cy="13567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kern="1200" dirty="0"/>
            <a:t>运维发布</a:t>
          </a:r>
        </a:p>
      </dsp:txBody>
      <dsp:txXfrm>
        <a:off x="4740367" y="1966323"/>
        <a:ext cx="959383" cy="959383"/>
      </dsp:txXfrm>
    </dsp:sp>
    <dsp:sp modelId="{20C07622-7D8D-486F-B65C-65F2D05D7E9B}">
      <dsp:nvSpPr>
        <dsp:cNvPr id="0" name=""/>
        <dsp:cNvSpPr/>
      </dsp:nvSpPr>
      <dsp:spPr>
        <a:xfrm>
          <a:off x="2774528" y="3534771"/>
          <a:ext cx="1356773" cy="13567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kern="1200" dirty="0"/>
            <a:t>流量调度</a:t>
          </a:r>
        </a:p>
      </dsp:txBody>
      <dsp:txXfrm>
        <a:off x="2973223" y="3733466"/>
        <a:ext cx="959383" cy="959383"/>
      </dsp:txXfrm>
    </dsp:sp>
    <dsp:sp modelId="{B45C77ED-B7BF-4F8C-81D8-B4B62F35576C}">
      <dsp:nvSpPr>
        <dsp:cNvPr id="0" name=""/>
        <dsp:cNvSpPr/>
      </dsp:nvSpPr>
      <dsp:spPr>
        <a:xfrm>
          <a:off x="1007384" y="1767628"/>
          <a:ext cx="1356773" cy="135677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600" kern="1200" dirty="0"/>
            <a:t>资产管理</a:t>
          </a:r>
        </a:p>
      </dsp:txBody>
      <dsp:txXfrm>
        <a:off x="1206079" y="1966323"/>
        <a:ext cx="959383" cy="959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64ACC8-8409-1B46-86B4-0E1F4B9F4D2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D99DD5-EDC8-264C-B145-523214ECA69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运维理念：造工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D99DD5-EDC8-264C-B145-523214ECA69D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10074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2183-D8E0-1F4C-B313-86E4E93FD1A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898AC-11AC-DF4F-BFD8-12A6B17F205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2183-D8E0-1F4C-B313-86E4E93FD1A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898AC-11AC-DF4F-BFD8-12A6B17F205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2183-D8E0-1F4C-B313-86E4E93FD1A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898AC-11AC-DF4F-BFD8-12A6B17F205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2183-D8E0-1F4C-B313-86E4E93FD1A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898AC-11AC-DF4F-BFD8-12A6B17F205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2183-D8E0-1F4C-B313-86E4E93FD1A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898AC-11AC-DF4F-BFD8-12A6B17F205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250826"/>
            <a:ext cx="10515600" cy="561974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38200" y="749300"/>
            <a:ext cx="10515600" cy="4191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 txBox="1"/>
          <p:nvPr userDrawn="1"/>
        </p:nvSpPr>
        <p:spPr bwMode="auto">
          <a:xfrm>
            <a:off x="10785231" y="6633990"/>
            <a:ext cx="90267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defPPr>
              <a:defRPr lang="de-DE"/>
            </a:defPPr>
            <a:lvl1pPr algn="r" defTabSz="95885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9CF5D4C-9F6E-4E1F-A3C5-05B84EDEF6B8}" type="slidenum">
              <a:rPr lang="de-DE" smtClean="0">
                <a:solidFill>
                  <a:srgbClr val="000000"/>
                </a:solidFill>
              </a:r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ußzeilenplatzhalter 4"/>
          <p:cNvSpPr txBox="1"/>
          <p:nvPr userDrawn="1"/>
        </p:nvSpPr>
        <p:spPr bwMode="auto">
          <a:xfrm>
            <a:off x="5205046" y="6607873"/>
            <a:ext cx="3356709" cy="179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defPPr>
              <a:defRPr lang="de-DE"/>
            </a:defPPr>
            <a:lvl1pPr algn="l" defTabSz="675005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Mobility </a:t>
            </a:r>
            <a:r>
              <a:rPr lang="de-DE" dirty="0" err="1">
                <a:solidFill>
                  <a:srgbClr val="000000"/>
                </a:solidFill>
              </a:rPr>
              <a:t>Asia</a:t>
            </a:r>
            <a:r>
              <a:rPr lang="de-DE" dirty="0">
                <a:solidFill>
                  <a:srgbClr val="000000"/>
                </a:solidFill>
              </a:rPr>
              <a:t> Confidential</a:t>
            </a:r>
          </a:p>
        </p:txBody>
      </p:sp>
      <p:sp>
        <p:nvSpPr>
          <p:cNvPr id="12" name="Datumsplatzhalter 5"/>
          <p:cNvSpPr txBox="1"/>
          <p:nvPr userDrawn="1"/>
        </p:nvSpPr>
        <p:spPr bwMode="auto">
          <a:xfrm>
            <a:off x="490417" y="6633990"/>
            <a:ext cx="2096476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AF86E-D608-493A-8D1D-F2EF475D2725}" type="datetime5">
              <a:rPr lang="en-US" smtClean="0">
                <a:solidFill>
                  <a:srgbClr val="000000"/>
                </a:solidFill>
              </a:rPr>
              <a:t>10-Apr-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Line 6"/>
          <p:cNvSpPr>
            <a:spLocks noChangeShapeType="1"/>
          </p:cNvSpPr>
          <p:nvPr userDrawn="1"/>
        </p:nvSpPr>
        <p:spPr bwMode="auto">
          <a:xfrm>
            <a:off x="482601" y="762000"/>
            <a:ext cx="11203354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</p:spPr>
        <p:txBody>
          <a:bodyPr wrap="none" lIns="91436" tIns="45718" rIns="91436" bIns="45718" anchor="ctr"/>
          <a:lstStyle/>
          <a:p>
            <a:pPr>
              <a:defRPr/>
            </a:pPr>
            <a:endParaRPr lang="zh-CN" altLang="en-US">
              <a:solidFill>
                <a:srgbClr val="000000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170316_MOBILITY_ASIA_logo_dan-01.png"/>
          <p:cNvPicPr>
            <a:picLocks noChangeAspect="1"/>
          </p:cNvPicPr>
          <p:nvPr userDrawn="1"/>
        </p:nvPicPr>
        <p:blipFill>
          <a:blip r:embed="rId6" cstate="screen"/>
          <a:stretch>
            <a:fillRect/>
          </a:stretch>
        </p:blipFill>
        <p:spPr>
          <a:xfrm>
            <a:off x="5110593" y="195159"/>
            <a:ext cx="1949538" cy="507679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82183-D8E0-1F4C-B313-86E4E93FD1A2}" type="datetimeFigureOut">
              <a:rPr kumimoji="1" lang="zh-CN" altLang="en-US" smtClean="0"/>
              <a:t>2020/4/10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898AC-11AC-DF4F-BFD8-12A6B17F2057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12" Type="http://schemas.microsoft.com/office/2007/relationships/hdphoto" Target="../media/hdphoto3.wdp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11" Type="http://schemas.openxmlformats.org/officeDocument/2006/relationships/image" Target="../media/image7.png"/><Relationship Id="rId5" Type="http://schemas.openxmlformats.org/officeDocument/2006/relationships/diagramColors" Target="../diagrams/colors1.xml"/><Relationship Id="rId10" Type="http://schemas.microsoft.com/office/2007/relationships/hdphoto" Target="../media/hdphoto2.wdp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.png"/><Relationship Id="rId14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idx="4294967295"/>
          </p:nvPr>
        </p:nvSpPr>
        <p:spPr>
          <a:xfrm>
            <a:off x="1524000" y="1122363"/>
            <a:ext cx="9144000" cy="2387600"/>
          </a:xfrm>
        </p:spPr>
        <p:txBody>
          <a:bodyPr/>
          <a:lstStyle/>
          <a:p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4294967295"/>
          </p:nvPr>
        </p:nvSpPr>
        <p:spPr>
          <a:xfrm>
            <a:off x="1524000" y="3602038"/>
            <a:ext cx="9144000" cy="1655762"/>
          </a:xfrm>
        </p:spPr>
        <p:txBody>
          <a:bodyPr/>
          <a:lstStyle/>
          <a:p>
            <a:endParaRPr kumimoji="1" lang="zh-CN" altLang="en-US"/>
          </a:p>
        </p:txBody>
      </p:sp>
      <p:sp>
        <p:nvSpPr>
          <p:cNvPr id="8" name="标题 1"/>
          <p:cNvSpPr txBox="1"/>
          <p:nvPr/>
        </p:nvSpPr>
        <p:spPr>
          <a:xfrm>
            <a:off x="5537040" y="1030288"/>
            <a:ext cx="7048499" cy="180821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1" lang="zh-CN" altLang="en-US" sz="4400" dirty="0">
                <a:solidFill>
                  <a:schemeClr val="bg1"/>
                </a:solidFill>
              </a:rPr>
              <a:t>仙豆智能</a:t>
            </a:r>
            <a:r>
              <a:rPr kumimoji="1" lang="en-US" altLang="zh-CN" sz="4400" dirty="0">
                <a:solidFill>
                  <a:schemeClr val="bg1"/>
                </a:solidFill>
              </a:rPr>
              <a:t>PPT</a:t>
            </a:r>
            <a:r>
              <a:rPr kumimoji="1" lang="zh-CN" altLang="en-US" sz="4400" dirty="0">
                <a:solidFill>
                  <a:schemeClr val="bg1"/>
                </a:solidFill>
              </a:rPr>
              <a:t>应用规范</a:t>
            </a:r>
          </a:p>
        </p:txBody>
      </p:sp>
      <p:sp>
        <p:nvSpPr>
          <p:cNvPr id="9" name="标题 1"/>
          <p:cNvSpPr txBox="1"/>
          <p:nvPr/>
        </p:nvSpPr>
        <p:spPr>
          <a:xfrm>
            <a:off x="4682443" y="1747787"/>
            <a:ext cx="7048499" cy="180821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kumimoji="1" lang="zh-CN" altLang="en-US" sz="1800" dirty="0">
                <a:solidFill>
                  <a:schemeClr val="bg1"/>
                </a:solidFill>
              </a:rPr>
              <a:t>√</a:t>
            </a:r>
            <a:r>
              <a:rPr kumimoji="1" lang="en-US" altLang="zh-CN" sz="1800" dirty="0">
                <a:solidFill>
                  <a:schemeClr val="bg1"/>
                </a:solidFill>
              </a:rPr>
              <a:t>×!9-×3-×</a:t>
            </a:r>
            <a:r>
              <a:rPr kumimoji="1" lang="zh-CN" altLang="en-US" sz="1800" dirty="0">
                <a:solidFill>
                  <a:schemeClr val="bg1"/>
                </a:solidFill>
              </a:rPr>
              <a:t>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39E617A0-5449-41C2-9D8C-B31A1C2E3273}"/>
              </a:ext>
            </a:extLst>
          </p:cNvPr>
          <p:cNvSpPr txBox="1"/>
          <p:nvPr/>
        </p:nvSpPr>
        <p:spPr>
          <a:xfrm>
            <a:off x="2471231" y="2935904"/>
            <a:ext cx="7249538" cy="2354484"/>
          </a:xfrm>
          <a:prstGeom prst="rect">
            <a:avLst/>
          </a:prstGeom>
        </p:spPr>
        <p:txBody>
          <a:bodyPr vert="horz" lIns="91440" tIns="45721" rIns="91440" bIns="45721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从人肉运维到高效运维</a:t>
            </a:r>
            <a:endParaRPr kumimoji="0" lang="en-US" altLang="zh-CN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百亿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PV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运维实践</a:t>
            </a:r>
            <a:endParaRPr kumimoji="0" lang="en-US" altLang="zh-CN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>
              <a:defRPr/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卫岩 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>
              <a:defRPr/>
            </a:pP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.04.11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28800" marR="0" lvl="4" indent="0" algn="ctr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/>
          <p:nvPr/>
        </p:nvSpPr>
        <p:spPr>
          <a:xfrm>
            <a:off x="5236098" y="1898664"/>
            <a:ext cx="7048499" cy="180821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1" lang="en-US" altLang="zh-CN" sz="4400" dirty="0">
                <a:solidFill>
                  <a:schemeClr val="bg1"/>
                </a:solidFill>
              </a:rPr>
              <a:t>THANKS.</a:t>
            </a:r>
            <a:endParaRPr kumimoji="1" lang="zh-CN" altLang="en-US" sz="4400" dirty="0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文本占位符 2"/>
          <p:cNvSpPr txBox="1"/>
          <p:nvPr/>
        </p:nvSpPr>
        <p:spPr>
          <a:xfrm>
            <a:off x="3905293" y="2752936"/>
            <a:ext cx="4701742" cy="1907881"/>
          </a:xfrm>
          <a:prstGeom prst="rect">
            <a:avLst/>
          </a:prstGeom>
        </p:spPr>
        <p:txBody>
          <a:bodyPr vert="horz" lIns="91440" tIns="45721" rIns="91440" bIns="45721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Tx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4800" dirty="0">
                <a:solidFill>
                  <a:schemeClr val="bg1"/>
                </a:solidFill>
                <a:latin typeface="+mj-ea"/>
                <a:ea typeface="+mj-ea"/>
              </a:rPr>
              <a:t>THANKS .</a:t>
            </a:r>
            <a:endParaRPr lang="zh-CN" altLang="en-US" sz="2400" dirty="0">
              <a:solidFill>
                <a:schemeClr val="bg1"/>
              </a:solidFill>
              <a:latin typeface="+mj-ea"/>
              <a:ea typeface="+mj-ea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ea"/>
                <a:ea typeface="+mj-ea"/>
              </a:rPr>
              <a:t>  </a:t>
            </a:r>
          </a:p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1828800" marR="0" lvl="4" indent="0" algn="ctr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图示 2">
            <a:extLst>
              <a:ext uri="{FF2B5EF4-FFF2-40B4-BE49-F238E27FC236}">
                <a16:creationId xmlns:a16="http://schemas.microsoft.com/office/drawing/2014/main" id="{A9725EAD-4FC8-4EAE-9AB5-510EC46E99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8915626"/>
              </p:ext>
            </p:extLst>
          </p:nvPr>
        </p:nvGraphicFramePr>
        <p:xfrm>
          <a:off x="978672" y="1021438"/>
          <a:ext cx="10346296" cy="5729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 descr="饮食补充剂电脑图标体能强健补充符号肌肉图标生长，手，肌肉，力量PNG ...">
            <a:extLst>
              <a:ext uri="{FF2B5EF4-FFF2-40B4-BE49-F238E27FC236}">
                <a16:creationId xmlns:a16="http://schemas.microsoft.com/office/drawing/2014/main" id="{86607155-FE7D-4E27-A4E2-92A742D7C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652" y="2800960"/>
            <a:ext cx="1016329" cy="1016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链条图标模板下载(素材ID:3690634)_-其他-设计素材_ 第一素材网1SUCAI.COM">
            <a:extLst>
              <a:ext uri="{FF2B5EF4-FFF2-40B4-BE49-F238E27FC236}">
                <a16:creationId xmlns:a16="http://schemas.microsoft.com/office/drawing/2014/main" id="{91667110-EE3B-40EB-9B94-429063261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foregroundMark x1="19156" y1="52273" x2="19156" y2="5227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921" y="2233913"/>
            <a:ext cx="567047" cy="567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A6AB486A-0EBF-4B2F-8752-BF9CCE075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foregroundMark x1="58984" y1="54883" x2="58984" y2="54883"/>
                        <a14:foregroundMark x1="62891" y1="56055" x2="62891" y2="560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9414" y="1521888"/>
            <a:ext cx="712025" cy="71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运营图标图片-运营图标图片素材免费下载-千库网">
            <a:extLst>
              <a:ext uri="{FF2B5EF4-FFF2-40B4-BE49-F238E27FC236}">
                <a16:creationId xmlns:a16="http://schemas.microsoft.com/office/drawing/2014/main" id="{FA956849-9928-4444-AFB2-F05A53590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foregroundMark x1="52692" y1="33333" x2="52692" y2="33333"/>
                        <a14:foregroundMark x1="73846" y1="40230" x2="73846" y2="402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71" y="984368"/>
            <a:ext cx="637087" cy="639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482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图示 5">
            <a:extLst>
              <a:ext uri="{FF2B5EF4-FFF2-40B4-BE49-F238E27FC236}">
                <a16:creationId xmlns:a16="http://schemas.microsoft.com/office/drawing/2014/main" id="{798020F2-04FE-41FE-BB79-E242DE60B8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9784028"/>
              </p:ext>
            </p:extLst>
          </p:nvPr>
        </p:nvGraphicFramePr>
        <p:xfrm>
          <a:off x="2643084" y="982985"/>
          <a:ext cx="6905831" cy="4892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0610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5778977-F9E0-440B-AFD2-A6509BDD2A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724" y="1166478"/>
            <a:ext cx="10829708" cy="5513107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975F990C-2668-49C3-97C1-DD900ED05166}"/>
              </a:ext>
            </a:extLst>
          </p:cNvPr>
          <p:cNvSpPr txBox="1"/>
          <p:nvPr/>
        </p:nvSpPr>
        <p:spPr>
          <a:xfrm>
            <a:off x="821724" y="535029"/>
            <a:ext cx="2287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资产管理</a:t>
            </a:r>
            <a:r>
              <a:rPr lang="zh-CN" alt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自动化</a:t>
            </a:r>
            <a:endParaRPr lang="zh-CN" altLang="en-US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48195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51C6D122-85F5-4365-8590-FEA48BCE14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267" y="490833"/>
            <a:ext cx="11040094" cy="6083572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E5360240-061F-4F41-A655-83720788F8C8}"/>
              </a:ext>
            </a:extLst>
          </p:cNvPr>
          <p:cNvSpPr txBox="1"/>
          <p:nvPr/>
        </p:nvSpPr>
        <p:spPr>
          <a:xfrm>
            <a:off x="846161" y="556885"/>
            <a:ext cx="2287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环境配置</a:t>
            </a:r>
            <a:r>
              <a:rPr lang="zh-CN" alt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傻瓜化</a:t>
            </a:r>
            <a:endParaRPr lang="zh-CN" altLang="en-US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562157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AF7EE2BC-85B5-48A8-8CDF-4EB5CFF86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790" y="462358"/>
            <a:ext cx="11235786" cy="593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911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976AA63E-9904-4D59-B25E-F144E993E9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733" y="486312"/>
            <a:ext cx="10826791" cy="6304528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50564607-8938-4299-BB47-F3B3C35AC21A}"/>
              </a:ext>
            </a:extLst>
          </p:cNvPr>
          <p:cNvSpPr txBox="1"/>
          <p:nvPr/>
        </p:nvSpPr>
        <p:spPr>
          <a:xfrm>
            <a:off x="793814" y="563708"/>
            <a:ext cx="2287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版本发布</a:t>
            </a:r>
            <a:r>
              <a:rPr lang="zh-CN" alt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简单化</a:t>
            </a:r>
            <a:endParaRPr lang="zh-CN" altLang="en-US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54180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18F285CD-C365-40F0-9D91-23C3F1E14A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119" y="1138185"/>
            <a:ext cx="11647762" cy="5375364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ACF4F5AB-85C4-4F48-AD97-2232E10923E0}"/>
              </a:ext>
            </a:extLst>
          </p:cNvPr>
          <p:cNvSpPr txBox="1"/>
          <p:nvPr/>
        </p:nvSpPr>
        <p:spPr>
          <a:xfrm>
            <a:off x="790403" y="604833"/>
            <a:ext cx="2287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流量配比</a:t>
            </a:r>
            <a:r>
              <a:rPr lang="zh-CN" alt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可视化</a:t>
            </a:r>
            <a:endParaRPr lang="zh-CN" altLang="en-US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338405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84D346F-09FE-4454-97B0-9F85EAD8DF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79372"/>
            <a:ext cx="12192000" cy="6099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00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7</TotalTime>
  <Words>253</Words>
  <Application>Microsoft Office PowerPoint</Application>
  <PresentationFormat>宽屏</PresentationFormat>
  <Paragraphs>53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VWAG TheSans</vt:lpstr>
      <vt:lpstr>DengXian</vt:lpstr>
      <vt:lpstr>DengXian Light</vt:lpstr>
      <vt:lpstr>微软雅黑</vt:lpstr>
      <vt:lpstr>Arial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卫 岩</cp:lastModifiedBy>
  <cp:revision>946</cp:revision>
  <cp:lastPrinted>2019-03-15T06:42:00Z</cp:lastPrinted>
  <dcterms:created xsi:type="dcterms:W3CDTF">2019-03-02T03:01:00Z</dcterms:created>
  <dcterms:modified xsi:type="dcterms:W3CDTF">2020-04-10T14:0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339</vt:lpwstr>
  </property>
</Properties>
</file>